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1" r:id="rId5"/>
  </p:sldMasterIdLst>
  <p:sldIdLst>
    <p:sldId id="401" r:id="rId6"/>
    <p:sldId id="372" r:id="rId7"/>
    <p:sldId id="357" r:id="rId8"/>
    <p:sldId id="397" r:id="rId9"/>
    <p:sldId id="361" r:id="rId10"/>
    <p:sldId id="382" r:id="rId11"/>
    <p:sldId id="383" r:id="rId12"/>
    <p:sldId id="384" r:id="rId13"/>
    <p:sldId id="398" r:id="rId14"/>
    <p:sldId id="400" r:id="rId15"/>
    <p:sldId id="359" r:id="rId16"/>
    <p:sldId id="347" r:id="rId17"/>
    <p:sldId id="385" r:id="rId18"/>
    <p:sldId id="386" r:id="rId19"/>
    <p:sldId id="308" r:id="rId20"/>
  </p:sldIdLst>
  <p:sldSz cx="12192000" cy="6858000"/>
  <p:notesSz cx="6858000" cy="9144000"/>
  <p:custDataLst>
    <p:tags r:id="rId2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4197"/>
    <a:srgbClr val="5A71B1"/>
    <a:srgbClr val="91A0CB"/>
    <a:srgbClr val="C8CFE5"/>
    <a:srgbClr val="607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27FD3D-857E-4B69-A1ED-CACC88162560}" v="43" dt="2024-11-13T19:05:49.9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4660"/>
  </p:normalViewPr>
  <p:slideViewPr>
    <p:cSldViewPr snapToGrid="0">
      <p:cViewPr varScale="1">
        <p:scale>
          <a:sx n="62" d="100"/>
          <a:sy n="62" d="100"/>
        </p:scale>
        <p:origin x="960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7.wdp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8.wdp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9.wdp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-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16166" y="3754623"/>
            <a:ext cx="5632704" cy="937255"/>
          </a:xfr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0" u="none" kern="1200" baseline="0" dirty="0">
                <a:solidFill>
                  <a:srgbClr val="234197"/>
                </a:solidFill>
                <a:uFill>
                  <a:solidFill>
                    <a:schemeClr val="accent2"/>
                  </a:solidFill>
                </a:u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6166" y="4882384"/>
            <a:ext cx="5638800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9EA5CB-7DCE-DF64-E7ED-5842468AF528}"/>
              </a:ext>
            </a:extLst>
          </p:cNvPr>
          <p:cNvSpPr/>
          <p:nvPr userDrawn="1"/>
        </p:nvSpPr>
        <p:spPr>
          <a:xfrm>
            <a:off x="1122680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D31BDD-9BFF-0557-16D1-787315D62C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 dirty="0"/>
              <a:t>Klicka för att lägga in en bakgrundsbild</a:t>
            </a:r>
          </a:p>
        </p:txBody>
      </p:sp>
    </p:spTree>
    <p:extLst>
      <p:ext uri="{BB962C8B-B14F-4D97-AF65-F5344CB8AC3E}">
        <p14:creationId xmlns:p14="http://schemas.microsoft.com/office/powerpoint/2010/main" val="38864191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avdela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forest of trees in the distance&#10;&#10;Description automatically generated">
            <a:extLst>
              <a:ext uri="{FF2B5EF4-FFF2-40B4-BE49-F238E27FC236}">
                <a16:creationId xmlns:a16="http://schemas.microsoft.com/office/drawing/2014/main" id="{2CA4F92B-0B67-5CC1-998E-336C78B7C9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487232-E57A-86FF-D9ED-E05162BEFF16}"/>
              </a:ext>
            </a:extLst>
          </p:cNvPr>
          <p:cNvSpPr/>
          <p:nvPr userDrawn="1"/>
        </p:nvSpPr>
        <p:spPr>
          <a:xfrm>
            <a:off x="-1" y="838200"/>
            <a:ext cx="5130801" cy="5170714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29F6F9F-F128-BB7C-0AB5-321484AF74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045" y="3253251"/>
            <a:ext cx="4686921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A6BA57-9987-3A4F-8E69-AE0B134E2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494647" y="1793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828229F-DD19-439C-2271-F589308FF4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2074690"/>
            <a:ext cx="468185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6144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avdela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uilding with trees and a parking lot&#10;&#10;Description automatically generated">
            <a:extLst>
              <a:ext uri="{FF2B5EF4-FFF2-40B4-BE49-F238E27FC236}">
                <a16:creationId xmlns:a16="http://schemas.microsoft.com/office/drawing/2014/main" id="{AE773A7B-E4FA-A1B1-ECE3-A72F305AF4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E4EE570-7BD3-ADF6-43D8-89DB12521322}"/>
              </a:ext>
            </a:extLst>
          </p:cNvPr>
          <p:cNvSpPr/>
          <p:nvPr userDrawn="1"/>
        </p:nvSpPr>
        <p:spPr>
          <a:xfrm>
            <a:off x="-1" y="838200"/>
            <a:ext cx="5130801" cy="5170714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BF15CDB-760B-BB66-74AE-424CA00123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2074690"/>
            <a:ext cx="468185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B00093B-F98E-C411-6861-A95E63AF2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045" y="3253251"/>
            <a:ext cx="4686921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942671-30CB-2EDE-4882-44498EF0B2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494647" y="1793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0276608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avdela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ody of water with trees and rocks&#10;&#10;Description automatically generated">
            <a:extLst>
              <a:ext uri="{FF2B5EF4-FFF2-40B4-BE49-F238E27FC236}">
                <a16:creationId xmlns:a16="http://schemas.microsoft.com/office/drawing/2014/main" id="{21EBD0CE-B82E-7438-1CE9-F8E571AC24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22687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71F3346-2B9D-AD14-E832-1F63B481D6E1}"/>
              </a:ext>
            </a:extLst>
          </p:cNvPr>
          <p:cNvSpPr/>
          <p:nvPr userDrawn="1"/>
        </p:nvSpPr>
        <p:spPr>
          <a:xfrm>
            <a:off x="-1" y="838200"/>
            <a:ext cx="5130801" cy="5170714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10DE39-A88E-069E-0A44-5FD11C2CE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494647" y="1793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4D7F6F3-F972-6BCF-84A5-03F8558C1D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2074690"/>
            <a:ext cx="468185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25236E5-FFAE-4C70-88CC-A50667A03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045" y="3253251"/>
            <a:ext cx="4686921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4409090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avdela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on a football field&#10;&#10;Description automatically generated">
            <a:extLst>
              <a:ext uri="{FF2B5EF4-FFF2-40B4-BE49-F238E27FC236}">
                <a16:creationId xmlns:a16="http://schemas.microsoft.com/office/drawing/2014/main" id="{8D94F78A-FF64-A91A-6B86-6D57DB335C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163"/>
          <a:stretch/>
        </p:blipFill>
        <p:spPr>
          <a:xfrm>
            <a:off x="-18103" y="-1"/>
            <a:ext cx="12201030" cy="685800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C40409C-5207-170B-9360-C6FFEE3F8D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494647" y="1793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C55F792-C691-FDE2-21C4-C0EE6872683C}"/>
              </a:ext>
            </a:extLst>
          </p:cNvPr>
          <p:cNvSpPr/>
          <p:nvPr userDrawn="1"/>
        </p:nvSpPr>
        <p:spPr>
          <a:xfrm>
            <a:off x="-1" y="838200"/>
            <a:ext cx="5130801" cy="5170714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AD85BE2-87F5-1CDF-1E63-8352C208B6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2074690"/>
            <a:ext cx="464375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1DCB680-461D-FFFD-3009-25B457B5E7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046" y="3253251"/>
            <a:ext cx="4648780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2444719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avdela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nowy forest with trees&#10;&#10;Description automatically generated">
            <a:extLst>
              <a:ext uri="{FF2B5EF4-FFF2-40B4-BE49-F238E27FC236}">
                <a16:creationId xmlns:a16="http://schemas.microsoft.com/office/drawing/2014/main" id="{12F14A68-48FC-EAD3-954E-AB5B0BC13D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499" y="0"/>
            <a:ext cx="11255829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-1" y="838200"/>
            <a:ext cx="5867401" cy="5170714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494647" y="1793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2074690"/>
            <a:ext cx="5367654" cy="937255"/>
          </a:xfr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0" u="none" kern="1200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045" y="3253251"/>
            <a:ext cx="5373463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172537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392BF3-4AE9-A007-7558-AB7A0A5039E4}"/>
              </a:ext>
            </a:extLst>
          </p:cNvPr>
          <p:cNvSpPr/>
          <p:nvPr userDrawn="1"/>
        </p:nvSpPr>
        <p:spPr>
          <a:xfrm>
            <a:off x="6306206" y="0"/>
            <a:ext cx="588579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8F1B79-57F0-4E64-986F-BA626E0404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5632704" cy="937255"/>
          </a:xfr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400" b="1" u="none" kern="1200" baseline="0" dirty="0">
                <a:solidFill>
                  <a:srgbClr val="234197"/>
                </a:solidFill>
                <a:uFill>
                  <a:solidFill>
                    <a:schemeClr val="accent2"/>
                  </a:solidFill>
                </a:u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B1C92C-C58E-49E0-A1E2-406EBEC32E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62100"/>
            <a:ext cx="5638800" cy="4686300"/>
          </a:xfrm>
        </p:spPr>
        <p:txBody>
          <a:bodyPr lIns="0" tIns="0" rIns="0" bIns="0">
            <a:normAutofit/>
          </a:bodyPr>
          <a:lstStyle>
            <a:lvl1pPr>
              <a:defRPr sz="2800"/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14" name="Lige forbindelse 5">
            <a:extLst>
              <a:ext uri="{FF2B5EF4-FFF2-40B4-BE49-F238E27FC236}">
                <a16:creationId xmlns:a16="http://schemas.microsoft.com/office/drawing/2014/main" id="{B284DF54-5136-4055-B1DF-0F753C1AF963}"/>
              </a:ext>
            </a:extLst>
          </p:cNvPr>
          <p:cNvCxnSpPr>
            <a:cxnSpLocks/>
          </p:cNvCxnSpPr>
          <p:nvPr userDrawn="1"/>
        </p:nvCxnSpPr>
        <p:spPr>
          <a:xfrm>
            <a:off x="461914" y="1418368"/>
            <a:ext cx="5634086" cy="0"/>
          </a:xfrm>
          <a:prstGeom prst="line">
            <a:avLst/>
          </a:prstGeom>
          <a:solidFill>
            <a:schemeClr val="accent2"/>
          </a:solidFill>
          <a:ln w="19050">
            <a:solidFill>
              <a:srgbClr val="234197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D6FF7718-FF2A-E46B-998D-22C9383E7E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240379" y="434339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36333DFF-D3FB-385C-D653-733E4756FD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00850" y="2266949"/>
            <a:ext cx="4876800" cy="4156711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54180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bild blå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0BCFB65-E2C6-7EE1-A33D-9BCC0DB9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434339"/>
            <a:ext cx="5632704" cy="937255"/>
          </a:xfr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400" b="1" u="none" kern="1200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F1EB652-D26B-8EC5-9AF6-00808D013B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0" y="1562100"/>
            <a:ext cx="5638800" cy="4686300"/>
          </a:xfr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618BBF-66AF-7C57-1E98-86BDF44CA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457200" y="3190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F2439036-D789-0195-36B7-F1B5070F4D5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200" y="2266949"/>
            <a:ext cx="4876800" cy="3981451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71559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bi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7C13931-EF32-CA42-8D5F-2850AFC6C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563270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4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Agenda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3517F6-E159-6A00-1A74-5604184429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62100"/>
            <a:ext cx="5638800" cy="3175000"/>
          </a:xfrm>
        </p:spPr>
        <p:txBody>
          <a:bodyPr lIns="0" tIns="0" rIns="0" bIns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B1B3C7-754C-BD87-9020-65CA8E9D1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337977" y="3190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995316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ålv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0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2500" y="576303"/>
            <a:ext cx="8325651" cy="5656729"/>
          </a:xfrm>
        </p:spPr>
        <p:txBody>
          <a:bodyPr lIns="0" tIns="0" rIns="0" bIns="0"/>
          <a:lstStyle>
            <a:lvl1pPr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7C8CA9-6BF1-DD3E-3F0A-B992FA988B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953635" y="5084750"/>
            <a:ext cx="951365" cy="949837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2" name="Picture 1" descr="A person lying on his stomach&#10;&#10;Description automatically generated">
            <a:extLst>
              <a:ext uri="{FF2B5EF4-FFF2-40B4-BE49-F238E27FC236}">
                <a16:creationId xmlns:a16="http://schemas.microsoft.com/office/drawing/2014/main" id="{631FF3F7-CFFE-D4D3-0F4F-E7507E7A14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47528" y="3006416"/>
            <a:ext cx="2996735" cy="1299437"/>
          </a:xfrm>
          <a:prstGeom prst="rect">
            <a:avLst/>
          </a:prstGeom>
        </p:spPr>
      </p:pic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AD8EA847-43A6-63FF-2131-7B8CC4C76D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40638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8A5E93-34E1-4163-AC0E-BF3455344158}" type="datetimeFigureOut">
              <a:rPr lang="sv-SE" smtClean="0"/>
              <a:pPr/>
              <a:t>2025-02-26</a:t>
            </a:fld>
            <a:endParaRPr lang="sv-SE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7A7C981C-0720-F4C2-0856-931C30B2F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E116EAFD-A267-F4F6-AB0E-EFFF60FD63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065" y="576303"/>
            <a:ext cx="2573446" cy="1176297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51805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åltv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3282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pic>
        <p:nvPicPr>
          <p:cNvPr id="3" name="Picture 2" descr="A person jumping in the air with a ball&#10;&#10;Description automatically generated">
            <a:extLst>
              <a:ext uri="{FF2B5EF4-FFF2-40B4-BE49-F238E27FC236}">
                <a16:creationId xmlns:a16="http://schemas.microsoft.com/office/drawing/2014/main" id="{EB25689B-F9D3-45A4-6502-F87273990C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risscrossEtching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57199" y="1907454"/>
            <a:ext cx="2317906" cy="2994425"/>
          </a:xfrm>
          <a:prstGeom prst="rect">
            <a:avLst/>
          </a:prstGeom>
        </p:spPr>
      </p:pic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66A62F1C-4518-9584-2004-DED9E0E95B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40638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8A5E93-34E1-4163-AC0E-BF3455344158}" type="datetimeFigureOut">
              <a:rPr lang="sv-SE" smtClean="0"/>
              <a:pPr/>
              <a:t>2025-02-26</a:t>
            </a:fld>
            <a:endParaRPr lang="sv-SE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E8DD50B-1501-0D17-670D-B9F067A1B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9D45070-6B5B-D10B-CAFE-151C156702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2500" y="576303"/>
            <a:ext cx="8325651" cy="5656729"/>
          </a:xfrm>
        </p:spPr>
        <p:txBody>
          <a:bodyPr lIns="0" tIns="0" rIns="0" bIns="0"/>
          <a:lstStyle>
            <a:lvl1pPr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6C3CE-F121-946A-2BED-651083E08B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065" y="576303"/>
            <a:ext cx="2573446" cy="1176297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ubrik</a:t>
            </a:r>
            <a:endParaRPr lang="sv-S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450584-47BD-533F-E72D-718E814258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953635" y="5084750"/>
            <a:ext cx="951365" cy="949837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550082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rainbow over a city&#10;&#10;Description automatically generated">
            <a:extLst>
              <a:ext uri="{FF2B5EF4-FFF2-40B4-BE49-F238E27FC236}">
                <a16:creationId xmlns:a16="http://schemas.microsoft.com/office/drawing/2014/main" id="{501F4783-AFFF-4312-C638-328D36E72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4771" r="-883"/>
          <a:stretch/>
        </p:blipFill>
        <p:spPr>
          <a:xfrm>
            <a:off x="463981" y="0"/>
            <a:ext cx="10867594" cy="686347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16166" y="1249548"/>
            <a:ext cx="5632704" cy="937255"/>
          </a:xfrm>
        </p:spPr>
        <p:txBody>
          <a:bodyPr vert="horz" lIns="0" tIns="0" rIns="0" bIns="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0" u="none" kern="1200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6166" y="2377309"/>
            <a:ext cx="5638800" cy="1242191"/>
          </a:xfr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C9EA5CB-7DCE-DF64-E7ED-5842468AF528}"/>
              </a:ext>
            </a:extLst>
          </p:cNvPr>
          <p:cNvSpPr/>
          <p:nvPr userDrawn="1"/>
        </p:nvSpPr>
        <p:spPr>
          <a:xfrm>
            <a:off x="1122680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966762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dom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3282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pic>
        <p:nvPicPr>
          <p:cNvPr id="7" name="Picture 6" descr="A child with his hand to his mouth&#10;&#10;Description automatically generated">
            <a:extLst>
              <a:ext uri="{FF2B5EF4-FFF2-40B4-BE49-F238E27FC236}">
                <a16:creationId xmlns:a16="http://schemas.microsoft.com/office/drawing/2014/main" id="{720EF985-FF5F-2C6B-54DC-C02DB6EBF8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73849" y="2179143"/>
            <a:ext cx="2247050" cy="2247050"/>
          </a:xfrm>
          <a:prstGeom prst="rect">
            <a:avLst/>
          </a:prstGeom>
        </p:spPr>
      </p:pic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8A4A384E-6825-010B-4AA8-927E3857DB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40638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8A5E93-34E1-4163-AC0E-BF3455344158}" type="datetimeFigureOut">
              <a:rPr lang="sv-SE" smtClean="0"/>
              <a:pPr/>
              <a:t>2025-02-26</a:t>
            </a:fld>
            <a:endParaRPr lang="sv-SE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B350260-CFF2-ECFB-28FD-0B5BFA883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8C9DD3F7-E895-A027-072B-7E7EB2C5E2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2500" y="576303"/>
            <a:ext cx="8325651" cy="5656729"/>
          </a:xfrm>
        </p:spPr>
        <p:txBody>
          <a:bodyPr lIns="0" tIns="0" rIns="0" bIns="0"/>
          <a:lstStyle>
            <a:lvl1pPr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38E9C8-B169-0C31-E618-02497E2672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065" y="576303"/>
            <a:ext cx="2573446" cy="1176297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ubrik</a:t>
            </a:r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F103D2B-6820-4B93-3499-6D86D6F33F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953635" y="5084750"/>
            <a:ext cx="951365" cy="949837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7126322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utespela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0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pic>
        <p:nvPicPr>
          <p:cNvPr id="3" name="Picture 2" descr="A person kicking a football ball&#10;&#10;Description automatically generated">
            <a:extLst>
              <a:ext uri="{FF2B5EF4-FFF2-40B4-BE49-F238E27FC236}">
                <a16:creationId xmlns:a16="http://schemas.microsoft.com/office/drawing/2014/main" id="{3196186D-6DFA-98DA-D859-9F66D2CA5D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11899"/>
          <a:stretch/>
        </p:blipFill>
        <p:spPr>
          <a:xfrm flipH="1">
            <a:off x="106688" y="1920336"/>
            <a:ext cx="2573446" cy="3106255"/>
          </a:xfrm>
          <a:prstGeom prst="rect">
            <a:avLst/>
          </a:prstGeom>
        </p:spPr>
      </p:pic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1E44C4A6-0548-0F04-914A-83EF9DA676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40638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8A5E93-34E1-4163-AC0E-BF3455344158}" type="datetimeFigureOut">
              <a:rPr lang="sv-SE" smtClean="0"/>
              <a:pPr/>
              <a:t>2025-02-26</a:t>
            </a:fld>
            <a:endParaRPr lang="sv-SE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40884201-4AEF-3716-ECBD-CCF5C31F4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18DFD64-7E58-8413-9D33-ADCE3702D9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2500" y="576303"/>
            <a:ext cx="8325651" cy="5656729"/>
          </a:xfrm>
        </p:spPr>
        <p:txBody>
          <a:bodyPr lIns="0" tIns="0" rIns="0" bIns="0"/>
          <a:lstStyle>
            <a:lvl1pPr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B6102E-96CD-ABC3-4E2C-B620F5BA7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065" y="576303"/>
            <a:ext cx="2573446" cy="1176297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ubrik</a:t>
            </a:r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D47E17-F1CA-5933-FD4D-DEAA4E55C0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953635" y="5084750"/>
            <a:ext cx="951365" cy="949837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8141987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utespela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9328416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8316650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8325651" cy="46863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7C8CA9-6BF1-DD3E-3F0A-B992FA988B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015353" y="3190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8" name="Picture 7" descr="A person kicking a football ball&#10;&#10;Description automatically generated">
            <a:extLst>
              <a:ext uri="{FF2B5EF4-FFF2-40B4-BE49-F238E27FC236}">
                <a16:creationId xmlns:a16="http://schemas.microsoft.com/office/drawing/2014/main" id="{ABFB3801-0824-2FB2-F133-26C7B34C70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6589" y="2348626"/>
            <a:ext cx="2435975" cy="3299699"/>
          </a:xfrm>
          <a:prstGeom prst="rect">
            <a:avLst/>
          </a:prstGeom>
        </p:spPr>
      </p:pic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8C154EBA-8C57-D8E8-68AF-F091756329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743200" cy="365125"/>
          </a:xfrm>
        </p:spPr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E7068030-82C3-CE3C-5564-5BAC16BDC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6393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utespela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9328416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pic>
        <p:nvPicPr>
          <p:cNvPr id="7" name="Picture 6" descr="A person in a white shirt&#10;&#10;Description automatically generated">
            <a:extLst>
              <a:ext uri="{FF2B5EF4-FFF2-40B4-BE49-F238E27FC236}">
                <a16:creationId xmlns:a16="http://schemas.microsoft.com/office/drawing/2014/main" id="{04AD16E8-4363-C779-809C-BC614F1847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820715" y="2138381"/>
            <a:ext cx="2178971" cy="388599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8316650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8325651" cy="46863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7C8CA9-6BF1-DD3E-3F0A-B992FA988B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015353" y="3190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EDF0ACAE-3317-B360-7547-C901582E99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743200" cy="365125"/>
          </a:xfrm>
        </p:spPr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D21417B7-0324-6928-445A-B8EC445D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97310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utespela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9328416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8316650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8325651" cy="46863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7C8CA9-6BF1-DD3E-3F0A-B992FA988B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015353" y="3190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3" name="Picture 2" descr="A child running with a ponytail&#10;&#10;Description automatically generated">
            <a:extLst>
              <a:ext uri="{FF2B5EF4-FFF2-40B4-BE49-F238E27FC236}">
                <a16:creationId xmlns:a16="http://schemas.microsoft.com/office/drawing/2014/main" id="{DA2F57B8-164D-AA14-550D-41A6CFD7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328416" y="2218804"/>
            <a:ext cx="2698082" cy="3372891"/>
          </a:xfrm>
          <a:prstGeom prst="rect">
            <a:avLst/>
          </a:prstGeom>
        </p:spPr>
      </p:pic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80BA8652-C425-6901-0669-3D62FD76C0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743200" cy="365125"/>
          </a:xfrm>
        </p:spPr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2ED9F3A6-2D8D-77AD-5F34-2CAE37E0C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3320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utespela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9328416" y="0"/>
            <a:ext cx="2863583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8316650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8325651" cy="4686300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7C8CA9-6BF1-DD3E-3F0A-B992FA988B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015353" y="3190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pic>
        <p:nvPicPr>
          <p:cNvPr id="2" name="Picture 1" descr="A person in a football uniform kicking a ball&#10;&#10;Description automatically generated">
            <a:extLst>
              <a:ext uri="{FF2B5EF4-FFF2-40B4-BE49-F238E27FC236}">
                <a16:creationId xmlns:a16="http://schemas.microsoft.com/office/drawing/2014/main" id="{8FF73079-40B8-F48C-7395-D47042345E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risscrossEtching/>
                    </a14:imgEffect>
                    <a14:imgEffect>
                      <a14:sharpenSoften amount="25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525553" y="2371725"/>
            <a:ext cx="2546061" cy="3013413"/>
          </a:xfrm>
          <a:prstGeom prst="rect">
            <a:avLst/>
          </a:prstGeom>
        </p:spPr>
      </p:pic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B506C540-A7F7-9782-3942-E3016EB2CC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199" y="6356349"/>
            <a:ext cx="2743200" cy="365125"/>
          </a:xfrm>
        </p:spPr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D5A0F6E5-E922-5888-638B-BAA49198F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992" y="6356350"/>
            <a:ext cx="263562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18AE2D-83CA-4AAC-B508-4577CBD6BD8F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970016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297323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-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468666DF-AD7D-519F-854B-89D01383FB6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8200" y="1943100"/>
            <a:ext cx="4876800" cy="4156711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för att lägga in bild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4C19BCD-7289-596E-3CB0-EF54B0C7F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67449" y="1943100"/>
            <a:ext cx="5038725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130878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4C19BCD-7289-596E-3CB0-EF54B0C7F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67449" y="1943100"/>
            <a:ext cx="5038725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C754D05F-FA78-0EB9-06C3-140AC9D041FD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838200" y="1943100"/>
            <a:ext cx="5257800" cy="41814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sv-SE" dirty="0"/>
              <a:t>Klicka för att lägga in diagram</a:t>
            </a:r>
          </a:p>
        </p:txBody>
      </p:sp>
    </p:spTree>
    <p:extLst>
      <p:ext uri="{BB962C8B-B14F-4D97-AF65-F5344CB8AC3E}">
        <p14:creationId xmlns:p14="http://schemas.microsoft.com/office/powerpoint/2010/main" val="18462849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- 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4C19BCD-7289-596E-3CB0-EF54B0C7F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67449" y="1943100"/>
            <a:ext cx="5038725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  <p:sp>
        <p:nvSpPr>
          <p:cNvPr id="10" name="Table Placeholder 7">
            <a:extLst>
              <a:ext uri="{FF2B5EF4-FFF2-40B4-BE49-F238E27FC236}">
                <a16:creationId xmlns:a16="http://schemas.microsoft.com/office/drawing/2014/main" id="{D98C8B05-51C9-15CE-10EA-CE6A390D1CFF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838200" y="1943100"/>
            <a:ext cx="5257800" cy="41814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sv-SE" dirty="0"/>
              <a:t>Klicka för att lägga in tabell</a:t>
            </a:r>
          </a:p>
        </p:txBody>
      </p:sp>
    </p:spTree>
    <p:extLst>
      <p:ext uri="{BB962C8B-B14F-4D97-AF65-F5344CB8AC3E}">
        <p14:creationId xmlns:p14="http://schemas.microsoft.com/office/powerpoint/2010/main" val="3179750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30300" y="1846090"/>
            <a:ext cx="4965700" cy="937255"/>
          </a:xfr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u="none" kern="1200" baseline="0" dirty="0">
                <a:solidFill>
                  <a:srgbClr val="234197"/>
                </a:solidFill>
                <a:uFill>
                  <a:solidFill>
                    <a:schemeClr val="accent2"/>
                  </a:solidFill>
                </a:u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	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30300" y="2973851"/>
            <a:ext cx="4971074" cy="1242191"/>
          </a:xfr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F7AB266-A6C0-EB8F-4175-18234E64FA8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50000" y="0"/>
            <a:ext cx="5842000" cy="6802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5233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43CDA4-514E-3C2A-F63C-828087FFB666}"/>
              </a:ext>
            </a:extLst>
          </p:cNvPr>
          <p:cNvSpPr txBox="1"/>
          <p:nvPr userDrawn="1"/>
        </p:nvSpPr>
        <p:spPr>
          <a:xfrm>
            <a:off x="838199" y="2038350"/>
            <a:ext cx="10429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v-SE" dirty="0"/>
          </a:p>
          <a:p>
            <a:endParaRPr lang="sv-S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CB1C5F-B38A-EBF9-74F6-94FCB7F06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943100"/>
            <a:ext cx="10515600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281398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- två 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43CDA4-514E-3C2A-F63C-828087FFB666}"/>
              </a:ext>
            </a:extLst>
          </p:cNvPr>
          <p:cNvSpPr txBox="1"/>
          <p:nvPr userDrawn="1"/>
        </p:nvSpPr>
        <p:spPr>
          <a:xfrm>
            <a:off x="838199" y="2038350"/>
            <a:ext cx="10429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v-SE" dirty="0"/>
          </a:p>
          <a:p>
            <a:endParaRPr lang="sv-S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CB1C5F-B38A-EBF9-74F6-94FCB7F06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943100"/>
            <a:ext cx="5038725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C1B3E814-CE84-7A43-7DB8-53378AEC85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7449" y="1943100"/>
            <a:ext cx="5038725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166223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- tre 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rgbClr val="234197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CB1C5F-B38A-EBF9-74F6-94FCB7F06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943100"/>
            <a:ext cx="3228976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C1B3E814-CE84-7A43-7DB8-53378AEC85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81512" y="1943100"/>
            <a:ext cx="3228976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816BDAA-9B62-845F-1192-5CDB50E4E6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4" y="1943100"/>
            <a:ext cx="3228976" cy="4181475"/>
          </a:xfrm>
        </p:spPr>
        <p:txBody>
          <a:bodyPr/>
          <a:lstStyle/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1486571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Innehållsbi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083B49-6194-D417-082F-5B46B1EC6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8648256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blå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083B49-6194-D417-082F-5B46B1EC6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064100B-8BEF-B6A5-F84F-E3D106E4CD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943100"/>
            <a:ext cx="10515600" cy="4181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074191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sbild blå - två 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083B49-6194-D417-082F-5B46B1EC6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69139ED-6F93-70AE-7AD1-91081F04A0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943100"/>
            <a:ext cx="5038725" cy="4181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2A6CF1A-5E1B-A5C4-4BA2-524C9119CD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7449" y="1943100"/>
            <a:ext cx="5038725" cy="4181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651109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lsbild blå - 3 ru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083B49-6194-D417-082F-5B46B1EC68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C77344-E481-4FA6-A0CA-AA6B75F7F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9499600" cy="1325563"/>
          </a:xfrm>
        </p:spPr>
        <p:txBody>
          <a:bodyPr anchor="t"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Rubrik</a:t>
            </a:r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524853" y="365125"/>
            <a:ext cx="1327696" cy="132556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4233622-1CAA-6739-E328-48AD40D8BA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943100"/>
            <a:ext cx="3228976" cy="4181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0C62DB9-B356-E6F7-A77B-8534EBE436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81512" y="1943100"/>
            <a:ext cx="3228976" cy="4181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B89CD35-EC56-CEF2-B89D-2065CD2663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4824" y="1943100"/>
            <a:ext cx="3228976" cy="4181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324991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rshj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78E4CD-9483-4E54-B0BC-7171D57019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87780" y="6492873"/>
            <a:ext cx="3393620" cy="365125"/>
          </a:xfrm>
        </p:spPr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7161CB-D908-4CFE-8883-4317384D9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67749" y="6492872"/>
            <a:ext cx="3393620" cy="365125"/>
          </a:xfrm>
        </p:spPr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99A91-A21B-51CC-DA5D-033122B0C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5259255" y="2620266"/>
            <a:ext cx="1742279" cy="173948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EED542EA-3309-57E0-6115-45B7532FE384}"/>
              </a:ext>
            </a:extLst>
          </p:cNvPr>
          <p:cNvSpPr/>
          <p:nvPr userDrawn="1"/>
        </p:nvSpPr>
        <p:spPr>
          <a:xfrm>
            <a:off x="9220200" y="581025"/>
            <a:ext cx="2841169" cy="12248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rgbClr val="234197"/>
                </a:solidFill>
              </a:rPr>
              <a:t>Feb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A087EF-9B6C-9EAE-09EA-DB195F4449A3}"/>
              </a:ext>
            </a:extLst>
          </p:cNvPr>
          <p:cNvSpPr/>
          <p:nvPr userDrawn="1"/>
        </p:nvSpPr>
        <p:spPr>
          <a:xfrm>
            <a:off x="8017658" y="2102091"/>
            <a:ext cx="4043711" cy="12248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rgbClr val="234197"/>
                </a:solidFill>
              </a:rPr>
              <a:t>Ma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368F06C-E6B5-FED1-8E1D-53EFDBD95916}"/>
              </a:ext>
            </a:extLst>
          </p:cNvPr>
          <p:cNvSpPr/>
          <p:nvPr userDrawn="1"/>
        </p:nvSpPr>
        <p:spPr>
          <a:xfrm>
            <a:off x="8017658" y="3623157"/>
            <a:ext cx="4043711" cy="1224824"/>
          </a:xfrm>
          <a:prstGeom prst="rect">
            <a:avLst/>
          </a:prstGeom>
          <a:solidFill>
            <a:srgbClr val="C8CFE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rgbClr val="234197"/>
                </a:solidFill>
              </a:rPr>
              <a:t>Apri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2419582-B59F-0222-0EAC-EB2CA24492A6}"/>
              </a:ext>
            </a:extLst>
          </p:cNvPr>
          <p:cNvSpPr/>
          <p:nvPr userDrawn="1"/>
        </p:nvSpPr>
        <p:spPr>
          <a:xfrm>
            <a:off x="9220200" y="5144224"/>
            <a:ext cx="2841169" cy="1224824"/>
          </a:xfrm>
          <a:prstGeom prst="rect">
            <a:avLst/>
          </a:prstGeom>
          <a:solidFill>
            <a:srgbClr val="C8CFE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rgbClr val="234197"/>
                </a:solidFill>
              </a:rPr>
              <a:t>Maj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FB283E-8635-B8F7-DAAA-0375DE787F9F}"/>
              </a:ext>
            </a:extLst>
          </p:cNvPr>
          <p:cNvSpPr/>
          <p:nvPr userDrawn="1"/>
        </p:nvSpPr>
        <p:spPr>
          <a:xfrm>
            <a:off x="149681" y="581025"/>
            <a:ext cx="2841169" cy="1224824"/>
          </a:xfrm>
          <a:prstGeom prst="rect">
            <a:avLst/>
          </a:prstGeom>
          <a:solidFill>
            <a:srgbClr val="5A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chemeClr val="bg1"/>
                </a:solidFill>
              </a:rPr>
              <a:t>Nov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C816A94-3E71-4DD8-6DE5-68DE674F8C90}"/>
              </a:ext>
            </a:extLst>
          </p:cNvPr>
          <p:cNvSpPr/>
          <p:nvPr userDrawn="1"/>
        </p:nvSpPr>
        <p:spPr>
          <a:xfrm>
            <a:off x="149681" y="2102091"/>
            <a:ext cx="3994722" cy="1224824"/>
          </a:xfrm>
          <a:prstGeom prst="rect">
            <a:avLst/>
          </a:prstGeom>
          <a:solidFill>
            <a:srgbClr val="5A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chemeClr val="bg1"/>
                </a:solidFill>
              </a:rPr>
              <a:t>Ok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8D84C67-4AE4-2958-F00E-3A6D66B785FD}"/>
              </a:ext>
            </a:extLst>
          </p:cNvPr>
          <p:cNvSpPr/>
          <p:nvPr userDrawn="1"/>
        </p:nvSpPr>
        <p:spPr>
          <a:xfrm>
            <a:off x="149681" y="3623157"/>
            <a:ext cx="3994722" cy="1224824"/>
          </a:xfrm>
          <a:prstGeom prst="rect">
            <a:avLst/>
          </a:prstGeom>
          <a:solidFill>
            <a:srgbClr val="91A0C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chemeClr val="bg1"/>
                </a:solidFill>
              </a:rPr>
              <a:t>Sep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4567FAB-1A6C-AFF2-7180-9F0D3DFFDB3A}"/>
              </a:ext>
            </a:extLst>
          </p:cNvPr>
          <p:cNvSpPr/>
          <p:nvPr userDrawn="1"/>
        </p:nvSpPr>
        <p:spPr>
          <a:xfrm>
            <a:off x="149681" y="5144224"/>
            <a:ext cx="2841169" cy="1224824"/>
          </a:xfrm>
          <a:prstGeom prst="rect">
            <a:avLst/>
          </a:prstGeom>
          <a:solidFill>
            <a:srgbClr val="91A0C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chemeClr val="bg1"/>
                </a:solidFill>
              </a:rPr>
              <a:t>Au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5417E0D-4D0B-6DC4-17F5-23516586997A}"/>
              </a:ext>
            </a:extLst>
          </p:cNvPr>
          <p:cNvSpPr/>
          <p:nvPr userDrawn="1"/>
        </p:nvSpPr>
        <p:spPr>
          <a:xfrm>
            <a:off x="6196693" y="581025"/>
            <a:ext cx="2841169" cy="1224824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rgbClr val="234197"/>
                </a:solidFill>
              </a:rPr>
              <a:t>Ja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A14B572-17D3-FDD5-FB59-98A11404B4BE}"/>
              </a:ext>
            </a:extLst>
          </p:cNvPr>
          <p:cNvSpPr/>
          <p:nvPr userDrawn="1"/>
        </p:nvSpPr>
        <p:spPr>
          <a:xfrm>
            <a:off x="3173187" y="580136"/>
            <a:ext cx="2841169" cy="1224824"/>
          </a:xfrm>
          <a:prstGeom prst="rect">
            <a:avLst/>
          </a:prstGeom>
          <a:solidFill>
            <a:srgbClr val="5A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chemeClr val="bg1"/>
                </a:solidFill>
              </a:rPr>
              <a:t>Dec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F99E33B-A2CC-46EC-7AFE-2F0DEB5BD654}"/>
              </a:ext>
            </a:extLst>
          </p:cNvPr>
          <p:cNvSpPr/>
          <p:nvPr userDrawn="1"/>
        </p:nvSpPr>
        <p:spPr>
          <a:xfrm>
            <a:off x="6196693" y="5153432"/>
            <a:ext cx="2841169" cy="1224824"/>
          </a:xfrm>
          <a:prstGeom prst="rect">
            <a:avLst/>
          </a:prstGeom>
          <a:solidFill>
            <a:srgbClr val="C8CFE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rgbClr val="234197"/>
                </a:solidFill>
              </a:rPr>
              <a:t>Ju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0E57CC8-E171-2176-9F78-8694B72AF951}"/>
              </a:ext>
            </a:extLst>
          </p:cNvPr>
          <p:cNvSpPr/>
          <p:nvPr userDrawn="1"/>
        </p:nvSpPr>
        <p:spPr>
          <a:xfrm>
            <a:off x="3173187" y="5152543"/>
            <a:ext cx="2841169" cy="1224824"/>
          </a:xfrm>
          <a:prstGeom prst="rect">
            <a:avLst/>
          </a:prstGeom>
          <a:solidFill>
            <a:srgbClr val="91A0C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sv-SE" sz="1400" dirty="0">
                <a:solidFill>
                  <a:schemeClr val="bg1"/>
                </a:solidFill>
              </a:rPr>
              <a:t>Ju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58F6A0C-2DCF-67DE-3A45-DC98FAA92E35}"/>
              </a:ext>
            </a:extLst>
          </p:cNvPr>
          <p:cNvSpPr txBox="1"/>
          <p:nvPr userDrawn="1"/>
        </p:nvSpPr>
        <p:spPr>
          <a:xfrm>
            <a:off x="76200" y="90342"/>
            <a:ext cx="1143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dirty="0">
                <a:solidFill>
                  <a:srgbClr val="234197"/>
                </a:solidFill>
              </a:rPr>
              <a:t>Årshjul för: 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0B5760F-B87C-9243-0EB0-98E5D029A07E}"/>
              </a:ext>
            </a:extLst>
          </p:cNvPr>
          <p:cNvGrpSpPr/>
          <p:nvPr userDrawn="1"/>
        </p:nvGrpSpPr>
        <p:grpSpPr>
          <a:xfrm>
            <a:off x="4574664" y="1911105"/>
            <a:ext cx="3097249" cy="3108562"/>
            <a:chOff x="4507989" y="2034930"/>
            <a:chExt cx="3097249" cy="3108562"/>
          </a:xfrm>
        </p:grpSpPr>
        <p:sp>
          <p:nvSpPr>
            <p:cNvPr id="54" name="Block Arc 53">
              <a:extLst>
                <a:ext uri="{FF2B5EF4-FFF2-40B4-BE49-F238E27FC236}">
                  <a16:creationId xmlns:a16="http://schemas.microsoft.com/office/drawing/2014/main" id="{81D72E15-3269-9854-8AD5-A6A6D8753E3E}"/>
                </a:ext>
              </a:extLst>
            </p:cNvPr>
            <p:cNvSpPr/>
            <p:nvPr userDrawn="1"/>
          </p:nvSpPr>
          <p:spPr>
            <a:xfrm>
              <a:off x="4584246" y="2053923"/>
              <a:ext cx="3020992" cy="3073706"/>
            </a:xfrm>
            <a:prstGeom prst="blockArc">
              <a:avLst>
                <a:gd name="adj1" fmla="val 10878678"/>
                <a:gd name="adj2" fmla="val 16171333"/>
                <a:gd name="adj3" fmla="val 17504"/>
              </a:avLst>
            </a:prstGeom>
            <a:solidFill>
              <a:srgbClr val="234197">
                <a:alpha val="75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55" name="Block Arc 54">
              <a:extLst>
                <a:ext uri="{FF2B5EF4-FFF2-40B4-BE49-F238E27FC236}">
                  <a16:creationId xmlns:a16="http://schemas.microsoft.com/office/drawing/2014/main" id="{5BEBF798-69B6-7D01-7C02-C8DB9BCBBF60}"/>
                </a:ext>
              </a:extLst>
            </p:cNvPr>
            <p:cNvSpPr/>
            <p:nvPr userDrawn="1"/>
          </p:nvSpPr>
          <p:spPr>
            <a:xfrm rot="5400000">
              <a:off x="4535860" y="2096143"/>
              <a:ext cx="3020992" cy="3073706"/>
            </a:xfrm>
            <a:prstGeom prst="blockArc">
              <a:avLst>
                <a:gd name="adj1" fmla="val 10878678"/>
                <a:gd name="adj2" fmla="val 16171333"/>
                <a:gd name="adj3" fmla="val 17504"/>
              </a:avLst>
            </a:prstGeom>
            <a:solidFill>
              <a:schemeClr val="bg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56" name="Block Arc 55">
              <a:extLst>
                <a:ext uri="{FF2B5EF4-FFF2-40B4-BE49-F238E27FC236}">
                  <a16:creationId xmlns:a16="http://schemas.microsoft.com/office/drawing/2014/main" id="{21207D43-5FBF-8155-30A5-AE90B2BCEA81}"/>
                </a:ext>
              </a:extLst>
            </p:cNvPr>
            <p:cNvSpPr/>
            <p:nvPr userDrawn="1"/>
          </p:nvSpPr>
          <p:spPr>
            <a:xfrm rot="10800000">
              <a:off x="4513385" y="2061999"/>
              <a:ext cx="3020992" cy="3073706"/>
            </a:xfrm>
            <a:prstGeom prst="blockArc">
              <a:avLst>
                <a:gd name="adj1" fmla="val 10878678"/>
                <a:gd name="adj2" fmla="val 16236299"/>
                <a:gd name="adj3" fmla="val 17503"/>
              </a:avLst>
            </a:prstGeom>
            <a:solidFill>
              <a:srgbClr val="234197">
                <a:alpha val="25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57" name="Block Arc 56">
              <a:extLst>
                <a:ext uri="{FF2B5EF4-FFF2-40B4-BE49-F238E27FC236}">
                  <a16:creationId xmlns:a16="http://schemas.microsoft.com/office/drawing/2014/main" id="{78856FB5-F696-85D6-0B7F-EF882C09102D}"/>
                </a:ext>
              </a:extLst>
            </p:cNvPr>
            <p:cNvSpPr/>
            <p:nvPr userDrawn="1"/>
          </p:nvSpPr>
          <p:spPr>
            <a:xfrm rot="16200000">
              <a:off x="4534346" y="2008573"/>
              <a:ext cx="3020992" cy="3073706"/>
            </a:xfrm>
            <a:prstGeom prst="blockArc">
              <a:avLst>
                <a:gd name="adj1" fmla="val 10878678"/>
                <a:gd name="adj2" fmla="val 16171333"/>
                <a:gd name="adj3" fmla="val 17504"/>
              </a:avLst>
            </a:prstGeom>
            <a:solidFill>
              <a:srgbClr val="234197">
                <a:alpha val="50000"/>
              </a:srgb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DEC465D-7C98-DB32-AE61-54846E8B0308}"/>
                </a:ext>
              </a:extLst>
            </p:cNvPr>
            <p:cNvSpPr txBox="1"/>
            <p:nvPr userDrawn="1"/>
          </p:nvSpPr>
          <p:spPr>
            <a:xfrm>
              <a:off x="5474957" y="2196074"/>
              <a:ext cx="5405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chemeClr val="bg1"/>
                  </a:solidFill>
                </a:rPr>
                <a:t>Dec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835B792-3D47-3C39-A043-EDC37ACA7218}"/>
                </a:ext>
              </a:extLst>
            </p:cNvPr>
            <p:cNvSpPr txBox="1"/>
            <p:nvPr userDrawn="1"/>
          </p:nvSpPr>
          <p:spPr>
            <a:xfrm rot="186256">
              <a:off x="6122367" y="2230312"/>
              <a:ext cx="4908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rgbClr val="234197"/>
                  </a:solidFill>
                </a:rPr>
                <a:t>Ja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75133BA-ADEC-81CE-B9DA-CB4D0E8FD843}"/>
                </a:ext>
              </a:extLst>
            </p:cNvPr>
            <p:cNvSpPr txBox="1"/>
            <p:nvPr userDrawn="1"/>
          </p:nvSpPr>
          <p:spPr>
            <a:xfrm>
              <a:off x="6669583" y="2578085"/>
              <a:ext cx="5243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rgbClr val="234197"/>
                  </a:solidFill>
                </a:rPr>
                <a:t>Feb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53D6FD8-A3BA-133E-9ABC-1D3019307A2F}"/>
                </a:ext>
              </a:extLst>
            </p:cNvPr>
            <p:cNvSpPr txBox="1"/>
            <p:nvPr userDrawn="1"/>
          </p:nvSpPr>
          <p:spPr>
            <a:xfrm>
              <a:off x="7005028" y="3125197"/>
              <a:ext cx="5725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rgbClr val="234197"/>
                  </a:solidFill>
                </a:rPr>
                <a:t>Mar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2CC0091-2C67-B281-80CA-F3F5B84021C1}"/>
                </a:ext>
              </a:extLst>
            </p:cNvPr>
            <p:cNvSpPr txBox="1"/>
            <p:nvPr userDrawn="1"/>
          </p:nvSpPr>
          <p:spPr>
            <a:xfrm>
              <a:off x="6970769" y="3672309"/>
              <a:ext cx="5196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rgbClr val="234197"/>
                  </a:solidFill>
                </a:rPr>
                <a:t>Ap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02CD389-205A-BF5F-FE6F-DD23E2C25FD5}"/>
                </a:ext>
              </a:extLst>
            </p:cNvPr>
            <p:cNvSpPr txBox="1"/>
            <p:nvPr userDrawn="1"/>
          </p:nvSpPr>
          <p:spPr>
            <a:xfrm rot="186256">
              <a:off x="6705558" y="4218584"/>
              <a:ext cx="5469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rgbClr val="234197"/>
                  </a:solidFill>
                </a:rPr>
                <a:t>Maj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7DA9B74-603C-E64C-AA30-11831A1E02E2}"/>
                </a:ext>
              </a:extLst>
            </p:cNvPr>
            <p:cNvSpPr txBox="1"/>
            <p:nvPr userDrawn="1"/>
          </p:nvSpPr>
          <p:spPr>
            <a:xfrm>
              <a:off x="6136816" y="4577733"/>
              <a:ext cx="5020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rgbClr val="234197"/>
                  </a:solidFill>
                </a:rPr>
                <a:t>Jun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6CCE6D6-B7DB-676D-E06D-815010DAE594}"/>
                </a:ext>
              </a:extLst>
            </p:cNvPr>
            <p:cNvSpPr txBox="1"/>
            <p:nvPr userDrawn="1"/>
          </p:nvSpPr>
          <p:spPr>
            <a:xfrm rot="186256">
              <a:off x="5458822" y="4577733"/>
              <a:ext cx="4331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chemeClr val="bg1"/>
                  </a:solidFill>
                </a:rPr>
                <a:t>Jul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7C66470-58D5-E9DF-FFAB-BC9DBF34A0E5}"/>
                </a:ext>
              </a:extLst>
            </p:cNvPr>
            <p:cNvSpPr txBox="1"/>
            <p:nvPr userDrawn="1"/>
          </p:nvSpPr>
          <p:spPr>
            <a:xfrm>
              <a:off x="4872050" y="4233123"/>
              <a:ext cx="54854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chemeClr val="bg1"/>
                  </a:solidFill>
                </a:rPr>
                <a:t>Aug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0594909-F274-DE76-A2F7-93FBE062582F}"/>
                </a:ext>
              </a:extLst>
            </p:cNvPr>
            <p:cNvSpPr txBox="1"/>
            <p:nvPr userDrawn="1"/>
          </p:nvSpPr>
          <p:spPr>
            <a:xfrm>
              <a:off x="4575752" y="3691167"/>
              <a:ext cx="52770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chemeClr val="bg1"/>
                  </a:solidFill>
                </a:rPr>
                <a:t>Sep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15E6906-2D97-4BA7-D5CE-D13BD11B40E5}"/>
                </a:ext>
              </a:extLst>
            </p:cNvPr>
            <p:cNvSpPr txBox="1"/>
            <p:nvPr userDrawn="1"/>
          </p:nvSpPr>
          <p:spPr>
            <a:xfrm>
              <a:off x="4922318" y="2557134"/>
              <a:ext cx="5587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chemeClr val="bg1"/>
                  </a:solidFill>
                </a:rPr>
                <a:t>Nov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3F3D774-3342-E8C5-DE61-0845A01E47E7}"/>
                </a:ext>
              </a:extLst>
            </p:cNvPr>
            <p:cNvSpPr txBox="1"/>
            <p:nvPr userDrawn="1"/>
          </p:nvSpPr>
          <p:spPr>
            <a:xfrm rot="186256">
              <a:off x="4643894" y="3079432"/>
              <a:ext cx="5169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>
                  <a:solidFill>
                    <a:schemeClr val="bg1"/>
                  </a:solidFill>
                </a:rPr>
                <a:t>Okt</a:t>
              </a:r>
            </a:p>
          </p:txBody>
        </p:sp>
      </p:grp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691F0D89-BFCA-B1E0-195D-48AB3427C3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8275" y="838200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3" name="Text Placeholder 60">
            <a:extLst>
              <a:ext uri="{FF2B5EF4-FFF2-40B4-BE49-F238E27FC236}">
                <a16:creationId xmlns:a16="http://schemas.microsoft.com/office/drawing/2014/main" id="{14F1D41D-13CE-C43A-9D5F-1773204047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92009" y="838200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30F44322-BC17-FB1B-73FF-5A82170ED2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4813" y="837213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1FD20CD6-7F08-8C8B-FFF3-6C46F40169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48547" y="837213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2346B31-35C3-1F17-9A06-E384643E89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978" y="5411594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032578A9-055C-D989-F180-CA8DB3ECE26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712" y="5411594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129E49F3-0316-1371-38EF-35B57FCC70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5991" y="5410607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9" name="Text Placeholder 60">
            <a:extLst>
              <a:ext uri="{FF2B5EF4-FFF2-40B4-BE49-F238E27FC236}">
                <a16:creationId xmlns:a16="http://schemas.microsoft.com/office/drawing/2014/main" id="{442F1DA4-568A-3EEE-19E3-2A25394091C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9725" y="5410607"/>
            <a:ext cx="2803524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70B69E8C-0123-DCF1-FDFC-B072FFEA79A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58750" y="2364808"/>
            <a:ext cx="3976356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CF994BB4-B104-717F-986E-04F9B2179D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68047" y="3885875"/>
            <a:ext cx="3976356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67F6A1C5-DF36-F605-C0A6-8D75D899787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43404" y="2368398"/>
            <a:ext cx="3994722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Text Placeholder 60">
            <a:extLst>
              <a:ext uri="{FF2B5EF4-FFF2-40B4-BE49-F238E27FC236}">
                <a16:creationId xmlns:a16="http://schemas.microsoft.com/office/drawing/2014/main" id="{D3DD1533-802F-9B9E-9694-ACE39BE03A4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3404" y="3889465"/>
            <a:ext cx="3994722" cy="966760"/>
          </a:xfrm>
        </p:spPr>
        <p:txBody>
          <a:bodyPr>
            <a:normAutofit/>
          </a:bodyPr>
          <a:lstStyle>
            <a:lvl1pPr marL="85725" indent="-85725">
              <a:defRPr sz="12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60">
            <a:extLst>
              <a:ext uri="{FF2B5EF4-FFF2-40B4-BE49-F238E27FC236}">
                <a16:creationId xmlns:a16="http://schemas.microsoft.com/office/drawing/2014/main" id="{7E27EFD9-D83E-8B9B-8C7B-AC4B1B4DA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75743" y="133848"/>
            <a:ext cx="7162119" cy="442523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Ange lag</a:t>
            </a:r>
          </a:p>
        </p:txBody>
      </p:sp>
      <p:sp>
        <p:nvSpPr>
          <p:cNvPr id="75" name="Text Placeholder 60">
            <a:extLst>
              <a:ext uri="{FF2B5EF4-FFF2-40B4-BE49-F238E27FC236}">
                <a16:creationId xmlns:a16="http://schemas.microsoft.com/office/drawing/2014/main" id="{3C8082A9-507A-7E7D-E5B3-30F021FAF6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29725" y="133848"/>
            <a:ext cx="2827787" cy="442523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solidFill>
                  <a:srgbClr val="234197"/>
                </a:solidFill>
              </a:defRPr>
            </a:lvl1pPr>
          </a:lstStyle>
          <a:p>
            <a:pPr lvl="0"/>
            <a:r>
              <a:rPr lang="en-US" dirty="0"/>
              <a:t>Ange </a:t>
            </a:r>
            <a:r>
              <a:rPr lang="en-US" dirty="0" err="1"/>
              <a:t>å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3605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5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83480C-0BD0-0AA1-ED32-92CE783BB3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1191C1FB-D100-651C-8432-432B361D3E9B}"/>
              </a:ext>
            </a:extLst>
          </p:cNvPr>
          <p:cNvGrpSpPr/>
          <p:nvPr userDrawn="1"/>
        </p:nvGrpSpPr>
        <p:grpSpPr>
          <a:xfrm>
            <a:off x="668143" y="878225"/>
            <a:ext cx="10855713" cy="5101550"/>
            <a:chOff x="350604" y="596900"/>
            <a:chExt cx="11490792" cy="540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C437001-4B81-E6AD-DBDD-6735EEE98134}"/>
                </a:ext>
              </a:extLst>
            </p:cNvPr>
            <p:cNvSpPr/>
            <p:nvPr userDrawn="1"/>
          </p:nvSpPr>
          <p:spPr>
            <a:xfrm>
              <a:off x="696000" y="596900"/>
              <a:ext cx="10800000" cy="54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AFFCB2B-0577-6B78-9B67-8EEB6E10625C}"/>
                </a:ext>
              </a:extLst>
            </p:cNvPr>
            <p:cNvCxnSpPr>
              <a:stCxn id="2" idx="0"/>
              <a:endCxn id="2" idx="2"/>
            </p:cNvCxnSpPr>
            <p:nvPr userDrawn="1"/>
          </p:nvCxnSpPr>
          <p:spPr>
            <a:xfrm>
              <a:off x="6096000" y="596900"/>
              <a:ext cx="0" cy="5400000"/>
            </a:xfrm>
            <a:prstGeom prst="line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0AACE4-EC8B-EC06-E188-20FC47DF3A5C}"/>
                </a:ext>
              </a:extLst>
            </p:cNvPr>
            <p:cNvSpPr/>
            <p:nvPr userDrawn="1"/>
          </p:nvSpPr>
          <p:spPr>
            <a:xfrm>
              <a:off x="350604" y="2641600"/>
              <a:ext cx="345396" cy="108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0D68D50-B6CE-8EB4-00D4-70787C75493F}"/>
                </a:ext>
              </a:extLst>
            </p:cNvPr>
            <p:cNvSpPr/>
            <p:nvPr userDrawn="1"/>
          </p:nvSpPr>
          <p:spPr>
            <a:xfrm>
              <a:off x="11496000" y="2641600"/>
              <a:ext cx="345396" cy="108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0BB31B5-4C83-797D-5719-870B9C894E40}"/>
              </a:ext>
            </a:extLst>
          </p:cNvPr>
          <p:cNvSpPr txBox="1"/>
          <p:nvPr userDrawn="1"/>
        </p:nvSpPr>
        <p:spPr>
          <a:xfrm>
            <a:off x="11483330" y="13300"/>
            <a:ext cx="6607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5-5</a:t>
            </a:r>
          </a:p>
        </p:txBody>
      </p:sp>
    </p:spTree>
    <p:extLst>
      <p:ext uri="{BB962C8B-B14F-4D97-AF65-F5344CB8AC3E}">
        <p14:creationId xmlns:p14="http://schemas.microsoft.com/office/powerpoint/2010/main" val="3719755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5-5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E6AB8-4A14-1714-AF00-8EAA7DA156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6473622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A998F56-180C-2773-FCC4-9C3EECF3B4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6480629" cy="4686300"/>
          </a:xfrm>
        </p:spPr>
        <p:txBody>
          <a:bodyPr lIns="0" tIns="0" rIns="0" bIns="0"/>
          <a:lstStyle>
            <a:lvl1pPr>
              <a:defRPr/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543346-9B6B-14F7-A1B7-F787A9FCFF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B35337D-02D8-86FE-B846-46A8B8B13D65}"/>
              </a:ext>
            </a:extLst>
          </p:cNvPr>
          <p:cNvGrpSpPr/>
          <p:nvPr userDrawn="1"/>
        </p:nvGrpSpPr>
        <p:grpSpPr>
          <a:xfrm rot="5400000">
            <a:off x="6325408" y="1915744"/>
            <a:ext cx="6440190" cy="3026512"/>
            <a:chOff x="350604" y="596900"/>
            <a:chExt cx="11490792" cy="5400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C1E52BE-9BF8-15FA-8A8D-F532143DFDF4}"/>
                </a:ext>
              </a:extLst>
            </p:cNvPr>
            <p:cNvSpPr/>
            <p:nvPr userDrawn="1"/>
          </p:nvSpPr>
          <p:spPr>
            <a:xfrm>
              <a:off x="696000" y="596900"/>
              <a:ext cx="10800000" cy="54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5B51443-376D-8F20-A97F-61E7FE30E1A6}"/>
                </a:ext>
              </a:extLst>
            </p:cNvPr>
            <p:cNvCxnSpPr>
              <a:stCxn id="6" idx="0"/>
              <a:endCxn id="6" idx="2"/>
            </p:cNvCxnSpPr>
            <p:nvPr userDrawn="1"/>
          </p:nvCxnSpPr>
          <p:spPr>
            <a:xfrm>
              <a:off x="6096000" y="596900"/>
              <a:ext cx="0" cy="5400000"/>
            </a:xfrm>
            <a:prstGeom prst="line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8DFD2AD-036F-E3BC-467C-B3640C870F15}"/>
                </a:ext>
              </a:extLst>
            </p:cNvPr>
            <p:cNvSpPr/>
            <p:nvPr userDrawn="1"/>
          </p:nvSpPr>
          <p:spPr>
            <a:xfrm>
              <a:off x="350604" y="2641600"/>
              <a:ext cx="345396" cy="108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AC3CE11-772C-FFEB-0976-D127F10CF448}"/>
                </a:ext>
              </a:extLst>
            </p:cNvPr>
            <p:cNvSpPr/>
            <p:nvPr userDrawn="1"/>
          </p:nvSpPr>
          <p:spPr>
            <a:xfrm>
              <a:off x="11496000" y="2641600"/>
              <a:ext cx="345396" cy="108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7189C03-4268-9652-E711-8D8B60EFC2B1}"/>
              </a:ext>
            </a:extLst>
          </p:cNvPr>
          <p:cNvSpPr txBox="1"/>
          <p:nvPr userDrawn="1"/>
        </p:nvSpPr>
        <p:spPr>
          <a:xfrm>
            <a:off x="11483330" y="13300"/>
            <a:ext cx="6607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5-5</a:t>
            </a:r>
          </a:p>
        </p:txBody>
      </p:sp>
    </p:spTree>
    <p:extLst>
      <p:ext uri="{BB962C8B-B14F-4D97-AF65-F5344CB8AC3E}">
        <p14:creationId xmlns:p14="http://schemas.microsoft.com/office/powerpoint/2010/main" val="2762485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n island with trees in the water&#10;&#10;Description automatically generated">
            <a:extLst>
              <a:ext uri="{FF2B5EF4-FFF2-40B4-BE49-F238E27FC236}">
                <a16:creationId xmlns:a16="http://schemas.microsoft.com/office/drawing/2014/main" id="{4DBD3E66-3718-5662-45AC-0643232AA7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5200" y="0"/>
            <a:ext cx="10261600" cy="68580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9EA5CB-7DCE-DF64-E7ED-5842468AF528}"/>
              </a:ext>
            </a:extLst>
          </p:cNvPr>
          <p:cNvSpPr/>
          <p:nvPr userDrawn="1"/>
        </p:nvSpPr>
        <p:spPr>
          <a:xfrm>
            <a:off x="11226800" y="0"/>
            <a:ext cx="965200" cy="6850316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8410" y="4322948"/>
            <a:ext cx="5908784" cy="937255"/>
          </a:xfr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ctr">
              <a:defRPr lang="en-GB" sz="3200" u="none" baseline="0" dirty="0">
                <a:solidFill>
                  <a:srgbClr val="234197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8409" y="5450709"/>
            <a:ext cx="5915179" cy="1242191"/>
          </a:xfrm>
          <a:solidFill>
            <a:schemeClr val="bg1"/>
          </a:solidFill>
        </p:spPr>
        <p:txBody>
          <a:bodyPr lIns="0" tIns="0" rIns="0" bIns="0"/>
          <a:lstStyle>
            <a:lvl1pPr marL="0" indent="0" algn="ctr">
              <a:buNone/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6281241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7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A3FE1475-DE65-3107-8E4F-28DC3A27B39D}"/>
              </a:ext>
            </a:extLst>
          </p:cNvPr>
          <p:cNvGrpSpPr/>
          <p:nvPr userDrawn="1"/>
        </p:nvGrpSpPr>
        <p:grpSpPr>
          <a:xfrm>
            <a:off x="892475" y="440688"/>
            <a:ext cx="10407050" cy="6013450"/>
            <a:chOff x="350604" y="596900"/>
            <a:chExt cx="18690792" cy="1080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C437001-4B81-E6AD-DBDD-6735EEE98134}"/>
                </a:ext>
              </a:extLst>
            </p:cNvPr>
            <p:cNvSpPr/>
            <p:nvPr userDrawn="1"/>
          </p:nvSpPr>
          <p:spPr>
            <a:xfrm>
              <a:off x="696000" y="596900"/>
              <a:ext cx="18000000" cy="10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AFFCB2B-0577-6B78-9B67-8EEB6E1062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6000" y="596900"/>
              <a:ext cx="0" cy="10800000"/>
            </a:xfrm>
            <a:prstGeom prst="line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0AACE4-EC8B-EC06-E188-20FC47DF3A5C}"/>
                </a:ext>
              </a:extLst>
            </p:cNvPr>
            <p:cNvSpPr/>
            <p:nvPr userDrawn="1"/>
          </p:nvSpPr>
          <p:spPr>
            <a:xfrm>
              <a:off x="350604" y="5096900"/>
              <a:ext cx="345396" cy="1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3CC508E-EEBD-984D-60D0-929A01DC8959}"/>
                </a:ext>
              </a:extLst>
            </p:cNvPr>
            <p:cNvSpPr/>
            <p:nvPr userDrawn="1"/>
          </p:nvSpPr>
          <p:spPr>
            <a:xfrm>
              <a:off x="7176000" y="596900"/>
              <a:ext cx="5040000" cy="10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CEE92A-2C20-F02D-33AD-5AFA26377C21}"/>
                </a:ext>
              </a:extLst>
            </p:cNvPr>
            <p:cNvSpPr/>
            <p:nvPr userDrawn="1"/>
          </p:nvSpPr>
          <p:spPr>
            <a:xfrm>
              <a:off x="696000" y="2576900"/>
              <a:ext cx="2520000" cy="684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271996-E9C0-3487-A54D-5335718C498A}"/>
                </a:ext>
              </a:extLst>
            </p:cNvPr>
            <p:cNvSpPr/>
            <p:nvPr userDrawn="1"/>
          </p:nvSpPr>
          <p:spPr>
            <a:xfrm>
              <a:off x="16176000" y="2576900"/>
              <a:ext cx="2520000" cy="684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AD995ED-C37F-7A00-EAE0-C219C2EBDF33}"/>
                </a:ext>
              </a:extLst>
            </p:cNvPr>
            <p:cNvSpPr/>
            <p:nvPr userDrawn="1"/>
          </p:nvSpPr>
          <p:spPr>
            <a:xfrm>
              <a:off x="18696000" y="5096900"/>
              <a:ext cx="345396" cy="1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154D314-84B5-9437-9F2E-0C96FCE77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839372D-6832-29B0-B448-79D4FFF4518D}"/>
              </a:ext>
            </a:extLst>
          </p:cNvPr>
          <p:cNvSpPr txBox="1"/>
          <p:nvPr userDrawn="1"/>
        </p:nvSpPr>
        <p:spPr>
          <a:xfrm>
            <a:off x="11483330" y="13300"/>
            <a:ext cx="6607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7-7</a:t>
            </a:r>
          </a:p>
        </p:txBody>
      </p:sp>
    </p:spTree>
    <p:extLst>
      <p:ext uri="{BB962C8B-B14F-4D97-AF65-F5344CB8AC3E}">
        <p14:creationId xmlns:p14="http://schemas.microsoft.com/office/powerpoint/2010/main" val="4073235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7-7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A3FE1475-DE65-3107-8E4F-28DC3A27B39D}"/>
              </a:ext>
            </a:extLst>
          </p:cNvPr>
          <p:cNvGrpSpPr/>
          <p:nvPr userDrawn="1"/>
        </p:nvGrpSpPr>
        <p:grpSpPr>
          <a:xfrm rot="16200000">
            <a:off x="6022233" y="1624055"/>
            <a:ext cx="6391397" cy="3693107"/>
            <a:chOff x="350604" y="596900"/>
            <a:chExt cx="18690792" cy="1080000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C437001-4B81-E6AD-DBDD-6735EEE98134}"/>
                </a:ext>
              </a:extLst>
            </p:cNvPr>
            <p:cNvSpPr/>
            <p:nvPr userDrawn="1"/>
          </p:nvSpPr>
          <p:spPr>
            <a:xfrm>
              <a:off x="696000" y="596900"/>
              <a:ext cx="18000000" cy="10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AFFCB2B-0577-6B78-9B67-8EEB6E1062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96000" y="596900"/>
              <a:ext cx="0" cy="10800000"/>
            </a:xfrm>
            <a:prstGeom prst="line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0AACE4-EC8B-EC06-E188-20FC47DF3A5C}"/>
                </a:ext>
              </a:extLst>
            </p:cNvPr>
            <p:cNvSpPr/>
            <p:nvPr userDrawn="1"/>
          </p:nvSpPr>
          <p:spPr>
            <a:xfrm>
              <a:off x="350604" y="5096900"/>
              <a:ext cx="345396" cy="1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3CC508E-EEBD-984D-60D0-929A01DC8959}"/>
                </a:ext>
              </a:extLst>
            </p:cNvPr>
            <p:cNvSpPr/>
            <p:nvPr userDrawn="1"/>
          </p:nvSpPr>
          <p:spPr>
            <a:xfrm>
              <a:off x="7176000" y="596900"/>
              <a:ext cx="5040000" cy="10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CEE92A-2C20-F02D-33AD-5AFA26377C21}"/>
                </a:ext>
              </a:extLst>
            </p:cNvPr>
            <p:cNvSpPr/>
            <p:nvPr userDrawn="1"/>
          </p:nvSpPr>
          <p:spPr>
            <a:xfrm>
              <a:off x="696000" y="2576900"/>
              <a:ext cx="2520000" cy="684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271996-E9C0-3487-A54D-5335718C498A}"/>
                </a:ext>
              </a:extLst>
            </p:cNvPr>
            <p:cNvSpPr/>
            <p:nvPr userDrawn="1"/>
          </p:nvSpPr>
          <p:spPr>
            <a:xfrm>
              <a:off x="16176000" y="2576900"/>
              <a:ext cx="2520000" cy="684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AD995ED-C37F-7A00-EAE0-C219C2EBDF33}"/>
                </a:ext>
              </a:extLst>
            </p:cNvPr>
            <p:cNvSpPr/>
            <p:nvPr userDrawn="1"/>
          </p:nvSpPr>
          <p:spPr>
            <a:xfrm>
              <a:off x="18696000" y="5096900"/>
              <a:ext cx="345396" cy="180000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154D314-84B5-9437-9F2E-0C96FCE776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285B21F-ED4B-D6C5-A0F2-BAAA192E49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5777690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3CAED84-5421-5CFA-6942-8CD25EA2BF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5783944" cy="4686300"/>
          </a:xfrm>
        </p:spPr>
        <p:txBody>
          <a:bodyPr lIns="0" tIns="0" rIns="0" bIns="0"/>
          <a:lstStyle>
            <a:lvl1pPr>
              <a:defRPr/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F6C0BC-0F14-8EAC-B13E-B85B5992BA32}"/>
              </a:ext>
            </a:extLst>
          </p:cNvPr>
          <p:cNvSpPr txBox="1"/>
          <p:nvPr userDrawn="1"/>
        </p:nvSpPr>
        <p:spPr>
          <a:xfrm>
            <a:off x="11483330" y="13300"/>
            <a:ext cx="6607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7-7</a:t>
            </a:r>
          </a:p>
        </p:txBody>
      </p:sp>
    </p:spTree>
    <p:extLst>
      <p:ext uri="{BB962C8B-B14F-4D97-AF65-F5344CB8AC3E}">
        <p14:creationId xmlns:p14="http://schemas.microsoft.com/office/powerpoint/2010/main" val="1407204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9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4D862089-1BCF-83D2-7CA6-CF938F33C326}"/>
              </a:ext>
            </a:extLst>
          </p:cNvPr>
          <p:cNvGrpSpPr/>
          <p:nvPr userDrawn="1"/>
        </p:nvGrpSpPr>
        <p:grpSpPr>
          <a:xfrm>
            <a:off x="1918862" y="160006"/>
            <a:ext cx="8354275" cy="6531080"/>
            <a:chOff x="1671404" y="160006"/>
            <a:chExt cx="8354275" cy="653108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C437001-4B81-E6AD-DBDD-6735EEE98134}"/>
                </a:ext>
              </a:extLst>
            </p:cNvPr>
            <p:cNvSpPr/>
            <p:nvPr userDrawn="1"/>
          </p:nvSpPr>
          <p:spPr>
            <a:xfrm>
              <a:off x="1825889" y="160006"/>
              <a:ext cx="8050814" cy="653108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AFFCB2B-0577-6B78-9B67-8EEB6E1062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65809" y="160006"/>
              <a:ext cx="0" cy="6531080"/>
            </a:xfrm>
            <a:prstGeom prst="line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0AACE4-EC8B-EC06-E188-20FC47DF3A5C}"/>
                </a:ext>
              </a:extLst>
            </p:cNvPr>
            <p:cNvSpPr/>
            <p:nvPr userDrawn="1"/>
          </p:nvSpPr>
          <p:spPr>
            <a:xfrm>
              <a:off x="1671404" y="2881289"/>
              <a:ext cx="154485" cy="1088513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CEE92A-2C20-F02D-33AD-5AFA26377C21}"/>
                </a:ext>
              </a:extLst>
            </p:cNvPr>
            <p:cNvSpPr/>
            <p:nvPr userDrawn="1"/>
          </p:nvSpPr>
          <p:spPr>
            <a:xfrm>
              <a:off x="1825888" y="1858087"/>
              <a:ext cx="1175594" cy="3134918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271996-E9C0-3487-A54D-5335718C498A}"/>
                </a:ext>
              </a:extLst>
            </p:cNvPr>
            <p:cNvSpPr/>
            <p:nvPr userDrawn="1"/>
          </p:nvSpPr>
          <p:spPr>
            <a:xfrm>
              <a:off x="8696926" y="1858087"/>
              <a:ext cx="1175594" cy="3134918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AD995ED-C37F-7A00-EAE0-C219C2EBDF33}"/>
                </a:ext>
              </a:extLst>
            </p:cNvPr>
            <p:cNvSpPr/>
            <p:nvPr userDrawn="1"/>
          </p:nvSpPr>
          <p:spPr>
            <a:xfrm>
              <a:off x="9871194" y="2881289"/>
              <a:ext cx="154485" cy="1088513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21C3B66-F972-7DD2-664B-9AB919EDA7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55937C8-2748-7E3A-8683-26C503F8BAFE}"/>
              </a:ext>
            </a:extLst>
          </p:cNvPr>
          <p:cNvSpPr txBox="1"/>
          <p:nvPr userDrawn="1"/>
        </p:nvSpPr>
        <p:spPr>
          <a:xfrm>
            <a:off x="11483330" y="13300"/>
            <a:ext cx="6607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9-9</a:t>
            </a:r>
          </a:p>
        </p:txBody>
      </p:sp>
    </p:spTree>
    <p:extLst>
      <p:ext uri="{BB962C8B-B14F-4D97-AF65-F5344CB8AC3E}">
        <p14:creationId xmlns:p14="http://schemas.microsoft.com/office/powerpoint/2010/main" val="2245141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9-9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4D862089-1BCF-83D2-7CA6-CF938F33C326}"/>
              </a:ext>
            </a:extLst>
          </p:cNvPr>
          <p:cNvGrpSpPr/>
          <p:nvPr userDrawn="1"/>
        </p:nvGrpSpPr>
        <p:grpSpPr>
          <a:xfrm rot="16200000">
            <a:off x="5631798" y="989780"/>
            <a:ext cx="6180108" cy="4831392"/>
            <a:chOff x="1671404" y="160006"/>
            <a:chExt cx="8354275" cy="653108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C437001-4B81-E6AD-DBDD-6735EEE98134}"/>
                </a:ext>
              </a:extLst>
            </p:cNvPr>
            <p:cNvSpPr/>
            <p:nvPr userDrawn="1"/>
          </p:nvSpPr>
          <p:spPr>
            <a:xfrm>
              <a:off x="1825889" y="160006"/>
              <a:ext cx="8050814" cy="6531080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AFFCB2B-0577-6B78-9B67-8EEB6E1062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865809" y="160006"/>
              <a:ext cx="0" cy="6531080"/>
            </a:xfrm>
            <a:prstGeom prst="line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40AACE4-EC8B-EC06-E188-20FC47DF3A5C}"/>
                </a:ext>
              </a:extLst>
            </p:cNvPr>
            <p:cNvSpPr/>
            <p:nvPr userDrawn="1"/>
          </p:nvSpPr>
          <p:spPr>
            <a:xfrm>
              <a:off x="1671404" y="2881289"/>
              <a:ext cx="154485" cy="1088513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BCEE92A-2C20-F02D-33AD-5AFA26377C21}"/>
                </a:ext>
              </a:extLst>
            </p:cNvPr>
            <p:cNvSpPr/>
            <p:nvPr userDrawn="1"/>
          </p:nvSpPr>
          <p:spPr>
            <a:xfrm>
              <a:off x="1825888" y="1858087"/>
              <a:ext cx="1175594" cy="3134918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271996-E9C0-3487-A54D-5335718C498A}"/>
                </a:ext>
              </a:extLst>
            </p:cNvPr>
            <p:cNvSpPr/>
            <p:nvPr userDrawn="1"/>
          </p:nvSpPr>
          <p:spPr>
            <a:xfrm>
              <a:off x="8696926" y="1858087"/>
              <a:ext cx="1175594" cy="3134918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AD995ED-C37F-7A00-EAE0-C219C2EBDF33}"/>
                </a:ext>
              </a:extLst>
            </p:cNvPr>
            <p:cNvSpPr/>
            <p:nvPr userDrawn="1"/>
          </p:nvSpPr>
          <p:spPr>
            <a:xfrm>
              <a:off x="9871194" y="2881289"/>
              <a:ext cx="154485" cy="1088513"/>
            </a:xfrm>
            <a:prstGeom prst="rect">
              <a:avLst/>
            </a:prstGeom>
            <a:noFill/>
            <a:ln w="57150">
              <a:solidFill>
                <a:srgbClr val="607FB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21C3B66-F972-7DD2-664B-9AB919EDA7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BD04F5F-3823-2807-F3D2-4DDFBB5DC8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4783189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10FCE3C-35FD-A3E8-29F0-365A2F4718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62100"/>
            <a:ext cx="4788367" cy="4686300"/>
          </a:xfrm>
        </p:spPr>
        <p:txBody>
          <a:bodyPr lIns="0" tIns="0" rIns="0" bIns="0"/>
          <a:lstStyle>
            <a:lvl1pPr>
              <a:defRPr/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B9104B-B193-14BD-12F9-223CA72232A2}"/>
              </a:ext>
            </a:extLst>
          </p:cNvPr>
          <p:cNvSpPr txBox="1"/>
          <p:nvPr userDrawn="1"/>
        </p:nvSpPr>
        <p:spPr>
          <a:xfrm>
            <a:off x="11483330" y="13300"/>
            <a:ext cx="66075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9-9</a:t>
            </a:r>
          </a:p>
        </p:txBody>
      </p:sp>
    </p:spTree>
    <p:extLst>
      <p:ext uri="{BB962C8B-B14F-4D97-AF65-F5344CB8AC3E}">
        <p14:creationId xmlns:p14="http://schemas.microsoft.com/office/powerpoint/2010/main" val="2003883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11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ootball Pitch Vector Art, Icons, and Graphics for Free Download">
            <a:extLst>
              <a:ext uri="{FF2B5EF4-FFF2-40B4-BE49-F238E27FC236}">
                <a16:creationId xmlns:a16="http://schemas.microsoft.com/office/drawing/2014/main" id="{C6F5D7A7-5783-95CF-3944-12DA97B8B96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9" t="4931" r="3464" b="5034"/>
          <a:stretch/>
        </p:blipFill>
        <p:spPr bwMode="auto">
          <a:xfrm>
            <a:off x="774995" y="0"/>
            <a:ext cx="10642009" cy="6876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583480C-0BD0-0AA1-ED32-92CE783BB3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5586071-F40D-3C37-A788-8273888DD71C}"/>
              </a:ext>
            </a:extLst>
          </p:cNvPr>
          <p:cNvSpPr/>
          <p:nvPr userDrawn="1"/>
        </p:nvSpPr>
        <p:spPr>
          <a:xfrm>
            <a:off x="1092200" y="101600"/>
            <a:ext cx="9982200" cy="6642100"/>
          </a:xfrm>
          <a:prstGeom prst="rect">
            <a:avLst/>
          </a:prstGeom>
          <a:noFill/>
          <a:ln w="57150">
            <a:solidFill>
              <a:srgbClr val="607FB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F1AD4D-7271-BB39-E086-36F460E48703}"/>
              </a:ext>
            </a:extLst>
          </p:cNvPr>
          <p:cNvSpPr txBox="1"/>
          <p:nvPr userDrawn="1"/>
        </p:nvSpPr>
        <p:spPr>
          <a:xfrm>
            <a:off x="11161272" y="0"/>
            <a:ext cx="10262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11-11</a:t>
            </a:r>
          </a:p>
        </p:txBody>
      </p:sp>
    </p:spTree>
    <p:extLst>
      <p:ext uri="{BB962C8B-B14F-4D97-AF65-F5344CB8AC3E}">
        <p14:creationId xmlns:p14="http://schemas.microsoft.com/office/powerpoint/2010/main" val="3936857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tiktavla 11-11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ootball Pitch Vector Art, Icons, and Graphics for Free Download">
            <a:extLst>
              <a:ext uri="{FF2B5EF4-FFF2-40B4-BE49-F238E27FC236}">
                <a16:creationId xmlns:a16="http://schemas.microsoft.com/office/drawing/2014/main" id="{C6F5D7A7-5783-95CF-3944-12DA97B8B96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9" t="4931" r="3464" b="5034"/>
          <a:stretch/>
        </p:blipFill>
        <p:spPr bwMode="auto">
          <a:xfrm rot="16200000">
            <a:off x="5534496" y="1213408"/>
            <a:ext cx="6858001" cy="443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9A7714-0353-5029-8385-9FDCCAEC1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4339"/>
            <a:ext cx="563270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u="none" baseline="0" dirty="0"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/>
              <a:t>Rubrik</a:t>
            </a:r>
            <a:endParaRPr lang="en-GB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F47480FA-CB81-3B59-F2A2-50A5D1F2F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62100"/>
            <a:ext cx="5638800" cy="4686300"/>
          </a:xfrm>
        </p:spPr>
        <p:txBody>
          <a:bodyPr lIns="0" tIns="0" rIns="0" bIns="0"/>
          <a:lstStyle>
            <a:lvl1pPr>
              <a:defRPr/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CB7F8B-8E05-717B-337A-445869E107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1427463" y="6110523"/>
            <a:ext cx="688337" cy="68723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2763D8F-E480-33EB-933F-B667A2427252}"/>
              </a:ext>
            </a:extLst>
          </p:cNvPr>
          <p:cNvSpPr txBox="1"/>
          <p:nvPr userDrawn="1"/>
        </p:nvSpPr>
        <p:spPr>
          <a:xfrm>
            <a:off x="11161272" y="0"/>
            <a:ext cx="10262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rgbClr val="234197"/>
                </a:solidFill>
              </a:rPr>
              <a:t>11-11</a:t>
            </a:r>
          </a:p>
        </p:txBody>
      </p:sp>
    </p:spTree>
    <p:extLst>
      <p:ext uri="{BB962C8B-B14F-4D97-AF65-F5344CB8AC3E}">
        <p14:creationId xmlns:p14="http://schemas.microsoft.com/office/powerpoint/2010/main" val="3449079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DD2CD5C-2FFC-F99E-B709-74707FF593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3419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B1B3C7-754C-BD87-9020-65CA8E9D1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4787913" y="2218264"/>
            <a:ext cx="2616173" cy="2611971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928258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3D9F7-698B-DB99-D4DB-2F578BC7A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5F8E22-07F8-86DA-8FFA-C994F910B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48FB90-1ABE-7542-79D0-55CE952F2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E42D65-D06D-1844-9204-7D98BE8BA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  <p:sp useBgFill="1">
        <p:nvSpPr>
          <p:cNvPr id="6" name="Rectangle 18">
            <a:extLst>
              <a:ext uri="{FF2B5EF4-FFF2-40B4-BE49-F238E27FC236}">
                <a16:creationId xmlns:a16="http://schemas.microsoft.com/office/drawing/2014/main" id="{93CAF1D6-2AAA-A865-5EDD-A4F96CCD3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0B0C6D32-CF6C-5CB9-30DB-E38DA4DF6B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22">
            <a:extLst>
              <a:ext uri="{FF2B5EF4-FFF2-40B4-BE49-F238E27FC236}">
                <a16:creationId xmlns:a16="http://schemas.microsoft.com/office/drawing/2014/main" id="{DE2B69FC-FD69-7E45-EA72-85430AB978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CAA40858-5E85-54BA-634E-6E2C37B4E8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D5872FA-43D0-8191-F4A4-D88FE8441A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6280" y="761599"/>
            <a:ext cx="6743192" cy="533480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475E019-5D43-46CE-75E3-37F758A4B696}"/>
              </a:ext>
            </a:extLst>
          </p:cNvPr>
          <p:cNvSpPr txBox="1"/>
          <p:nvPr userDrawn="1"/>
        </p:nvSpPr>
        <p:spPr>
          <a:xfrm>
            <a:off x="922528" y="2598436"/>
            <a:ext cx="233108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8000" dirty="0">
                <a:solidFill>
                  <a:schemeClr val="bg1"/>
                </a:solidFill>
              </a:rPr>
              <a:t>Tack!</a:t>
            </a:r>
          </a:p>
        </p:txBody>
      </p:sp>
    </p:spTree>
    <p:extLst>
      <p:ext uri="{BB962C8B-B14F-4D97-AF65-F5344CB8AC3E}">
        <p14:creationId xmlns:p14="http://schemas.microsoft.com/office/powerpoint/2010/main" val="3075944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566DC-5748-517B-0D82-1BAFD55F3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6BC8E-D1F1-2D6D-7377-CC0628727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F2924C-2264-EE7E-85AB-1E152D0603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8681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dock on a lake&#10;&#10;Description automatically generated">
            <a:extLst>
              <a:ext uri="{FF2B5EF4-FFF2-40B4-BE49-F238E27FC236}">
                <a16:creationId xmlns:a16="http://schemas.microsoft.com/office/drawing/2014/main" id="{2E4C61CA-1ADC-EEC2-4C81-53A4B35F62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4357873"/>
            <a:ext cx="4491354" cy="937255"/>
          </a:xfr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>
              <a:defRPr lang="en-GB" sz="3200" u="none" baseline="0" dirty="0">
                <a:solidFill>
                  <a:srgbClr val="234197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797" y="5485634"/>
            <a:ext cx="4496215" cy="1242191"/>
          </a:xfrm>
          <a:solidFill>
            <a:schemeClr val="bg1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675078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football field with trees&#10;&#10;Description automatically generated">
            <a:extLst>
              <a:ext uri="{FF2B5EF4-FFF2-40B4-BE49-F238E27FC236}">
                <a16:creationId xmlns:a16="http://schemas.microsoft.com/office/drawing/2014/main" id="{D0ED0DCD-FCE4-1855-B242-D1FCF61A15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09892" y="4229966"/>
            <a:ext cx="8927754" cy="937255"/>
          </a:xfrm>
          <a:solidFill>
            <a:schemeClr val="bg1"/>
          </a:solidFill>
        </p:spPr>
        <p:txBody>
          <a:bodyPr vert="horz" lIns="0" tIns="0" rIns="0" bIns="0" rtlCol="0" anchor="t">
            <a:noAutofit/>
          </a:bodyPr>
          <a:lstStyle>
            <a:lvl1pPr algn="ctr">
              <a:defRPr lang="en-GB" sz="3200" u="none" baseline="0" dirty="0">
                <a:solidFill>
                  <a:srgbClr val="234197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9892" y="5357727"/>
            <a:ext cx="8937416" cy="1242191"/>
          </a:xfrm>
          <a:solidFill>
            <a:schemeClr val="bg1"/>
          </a:solidFill>
        </p:spPr>
        <p:txBody>
          <a:bodyPr lIns="0" tIns="0" rIns="0" bIns="0"/>
          <a:lstStyle>
            <a:lvl1pPr marL="0" indent="0" algn="ctr">
              <a:buNone/>
              <a:defRPr>
                <a:solidFill>
                  <a:srgbClr val="234197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662879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city at night with a lake&#10;&#10;Description automatically generated">
            <a:extLst>
              <a:ext uri="{FF2B5EF4-FFF2-40B4-BE49-F238E27FC236}">
                <a16:creationId xmlns:a16="http://schemas.microsoft.com/office/drawing/2014/main" id="{91F2D9C0-3560-0992-FDD4-9C97AB3B9B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2830" y="0"/>
            <a:ext cx="10239170" cy="6858001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094" y="4383273"/>
            <a:ext cx="5632704" cy="937255"/>
          </a:xfrm>
          <a:solidFill>
            <a:schemeClr val="tx1"/>
          </a:solidFill>
        </p:spPr>
        <p:txBody>
          <a:bodyPr vert="horz" lIns="0" tIns="0" rIns="0" bIns="0" rtlCol="0" anchor="t">
            <a:noAutofit/>
          </a:bodyPr>
          <a:lstStyle>
            <a:lvl1pPr algn="ctr"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8094" y="5511034"/>
            <a:ext cx="5638800" cy="1242191"/>
          </a:xfrm>
          <a:solidFill>
            <a:schemeClr val="tx1"/>
          </a:solidFill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0634893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nowy forest with a house and a blue sky&#10;&#10;Description automatically generated">
            <a:extLst>
              <a:ext uri="{FF2B5EF4-FFF2-40B4-BE49-F238E27FC236}">
                <a16:creationId xmlns:a16="http://schemas.microsoft.com/office/drawing/2014/main" id="{E57F8AEC-A230-1DD4-B716-3BFBB3354C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" y="0"/>
            <a:ext cx="12191322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F789D2E-0895-BCA1-7C31-BEA927A2E3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5501" y="279278"/>
            <a:ext cx="7874000" cy="937255"/>
          </a:xfrm>
        </p:spPr>
        <p:txBody>
          <a:bodyPr vert="horz" lIns="0" tIns="0" rIns="0" bIns="0" rtlCol="0" anchor="t">
            <a:noAutofit/>
          </a:bodyPr>
          <a:lstStyle>
            <a:lvl1pPr algn="ctr"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4DA2266-0633-161C-D6B5-988C200A75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5370" y="1407039"/>
            <a:ext cx="7882521" cy="1242191"/>
          </a:xfr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C4D408-8BBF-D290-C601-F72CE45B5148}"/>
              </a:ext>
            </a:extLst>
          </p:cNvPr>
          <p:cNvSpPr/>
          <p:nvPr userDrawn="1"/>
        </p:nvSpPr>
        <p:spPr>
          <a:xfrm>
            <a:off x="0" y="0"/>
            <a:ext cx="965200" cy="6858000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B591EA-090A-7303-3D82-D80F7ED15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233046" y="2936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331411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tionsavdelare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3487232-E57A-86FF-D9ED-E05162BEFF16}"/>
              </a:ext>
            </a:extLst>
          </p:cNvPr>
          <p:cNvSpPr/>
          <p:nvPr userDrawn="1"/>
        </p:nvSpPr>
        <p:spPr>
          <a:xfrm>
            <a:off x="-1" y="838200"/>
            <a:ext cx="5130801" cy="5170714"/>
          </a:xfrm>
          <a:prstGeom prst="rect">
            <a:avLst/>
          </a:prstGeom>
          <a:solidFill>
            <a:srgbClr val="2341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sv-SE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29F6F9F-F128-BB7C-0AB5-321484AF74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3045" y="3253251"/>
            <a:ext cx="4686921" cy="1242191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742950" indent="-285750">
              <a:buFont typeface="Calibri" panose="020F0502020204030204" pitchFamily="34" charset="0"/>
              <a:buChar char="‐"/>
              <a:defRPr/>
            </a:lvl2pPr>
            <a:lvl3pPr marL="1200150" indent="-285750">
              <a:buFont typeface="Courier New" panose="02070309020205020404" pitchFamily="49" charset="0"/>
              <a:buChar char="o"/>
              <a:defRPr/>
            </a:lvl3pPr>
            <a:lvl4pPr marL="1657350" indent="-285750">
              <a:buFont typeface="Calibri" panose="020F0502020204030204" pitchFamily="34" charset="0"/>
              <a:buChar char="-"/>
              <a:defRPr/>
            </a:lvl4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A6BA57-9987-3A4F-8E69-AE0B134E2B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"/>
          <a:stretch/>
        </p:blipFill>
        <p:spPr>
          <a:xfrm>
            <a:off x="10494647" y="179388"/>
            <a:ext cx="1489707" cy="1487314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CB0E121-1151-D134-2982-F04AB852237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sv-SE" dirty="0"/>
              <a:t>                                                                                      Klicka för att lägga in bild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AEF1CB-1293-CB34-6C46-2D953BC24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3046" y="2074690"/>
            <a:ext cx="4681854" cy="937255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3200" u="none" baseline="0" dirty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</a:lstStyle>
          <a:p>
            <a:pPr lvl="0"/>
            <a:r>
              <a:rPr lang="en-US" dirty="0" err="1"/>
              <a:t>Titel</a:t>
            </a:r>
            <a:r>
              <a:rPr lang="en-US" dirty="0"/>
              <a:t> 1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092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theme" Target="../theme/theme2.xml"/><Relationship Id="rId4" Type="http://schemas.openxmlformats.org/officeDocument/2006/relationships/image" Target="../media/image2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1E99CDA-37D8-4CA7-BC8A-CF5FE9F8CA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444013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5" imgH="416" progId="TCLayout.ActiveDocument.1">
                  <p:embed/>
                </p:oleObj>
              </mc:Choice>
              <mc:Fallback>
                <p:oleObj name="think-cell Slide" r:id="rId51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1E99CDA-37D8-4CA7-BC8A-CF5FE9F8CA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1E11E89-8428-4824-B96C-B4658FE9F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C5539D-AD58-4738-8172-771FB99141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4D2675-4536-4ADE-AAED-41F06436E2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8A5E93-34E1-4163-AC0E-BF3455344158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FDEB0-A0A9-45AC-9843-5E44C694AF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18AE2D-83CA-4AAC-B508-4577CBD6BD8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5236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67" r:id="rId2"/>
    <p:sldLayoutId id="2147483686" r:id="rId3"/>
    <p:sldLayoutId id="2147483695" r:id="rId4"/>
    <p:sldLayoutId id="2147483698" r:id="rId5"/>
    <p:sldLayoutId id="2147483706" r:id="rId6"/>
    <p:sldLayoutId id="2147483697" r:id="rId7"/>
    <p:sldLayoutId id="2147483703" r:id="rId8"/>
    <p:sldLayoutId id="2147483701" r:id="rId9"/>
    <p:sldLayoutId id="2147483737" r:id="rId10"/>
    <p:sldLayoutId id="2147483707" r:id="rId11"/>
    <p:sldLayoutId id="2147483705" r:id="rId12"/>
    <p:sldLayoutId id="2147483708" r:id="rId13"/>
    <p:sldLayoutId id="2147483696" r:id="rId14"/>
    <p:sldLayoutId id="2147483679" r:id="rId15"/>
    <p:sldLayoutId id="2147483685" r:id="rId16"/>
    <p:sldLayoutId id="2147483684" r:id="rId17"/>
    <p:sldLayoutId id="2147483716" r:id="rId18"/>
    <p:sldLayoutId id="2147483717" r:id="rId19"/>
    <p:sldLayoutId id="2147483718" r:id="rId20"/>
    <p:sldLayoutId id="2147483715" r:id="rId21"/>
    <p:sldLayoutId id="2147483712" r:id="rId22"/>
    <p:sldLayoutId id="2147483710" r:id="rId23"/>
    <p:sldLayoutId id="2147483713" r:id="rId24"/>
    <p:sldLayoutId id="2147483714" r:id="rId25"/>
    <p:sldLayoutId id="2147483736" r:id="rId26"/>
    <p:sldLayoutId id="2147483723" r:id="rId27"/>
    <p:sldLayoutId id="2147483738" r:id="rId28"/>
    <p:sldLayoutId id="2147483739" r:id="rId29"/>
    <p:sldLayoutId id="2147483689" r:id="rId30"/>
    <p:sldLayoutId id="2147483719" r:id="rId31"/>
    <p:sldLayoutId id="2147483721" r:id="rId32"/>
    <p:sldLayoutId id="2147483682" r:id="rId33"/>
    <p:sldLayoutId id="2147483690" r:id="rId34"/>
    <p:sldLayoutId id="2147483720" r:id="rId35"/>
    <p:sldLayoutId id="2147483722" r:id="rId36"/>
    <p:sldLayoutId id="2147483666" r:id="rId37"/>
    <p:sldLayoutId id="2147483728" r:id="rId38"/>
    <p:sldLayoutId id="2147483732" r:id="rId39"/>
    <p:sldLayoutId id="2147483729" r:id="rId40"/>
    <p:sldLayoutId id="2147483734" r:id="rId41"/>
    <p:sldLayoutId id="2147483730" r:id="rId42"/>
    <p:sldLayoutId id="2147483735" r:id="rId43"/>
    <p:sldLayoutId id="2147483724" r:id="rId44"/>
    <p:sldLayoutId id="2147483725" r:id="rId45"/>
    <p:sldLayoutId id="2147483709" r:id="rId46"/>
    <p:sldLayoutId id="2147483693" r:id="rId47"/>
    <p:sldLayoutId id="2147483740" r:id="rId4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234197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3419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3419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3419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3419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3419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4EB5938-7D35-4BCF-6490-76EF86C37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57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6" progId="TCLayout.ActiveDocument.1">
                  <p:embed/>
                </p:oleObj>
              </mc:Choice>
              <mc:Fallback>
                <p:oleObj name="think-cell Slide" r:id="rId3" imgW="426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EB5938-7D35-4BCF-6490-76EF86C37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A373F1-E311-498C-BB2C-90DFC43F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77639F-D327-1B90-DE83-479EFDB3E1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65825-D85D-29FF-B3D7-8E9C47E89F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13B57DD-081C-465E-B5CF-A86F9DF4721C}" type="datetimeFigureOut">
              <a:rPr lang="sv-SE" smtClean="0"/>
              <a:t>2025-02-26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0A135-9E08-BB28-8C0D-716DD2C6F5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F0CBA-BBD6-2B58-CC9F-C4F43F56D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258C79-5A00-4EDC-86F7-EE21405E573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06356270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4" Type="http://schemas.openxmlformats.org/officeDocument/2006/relationships/image" Target="../media/image27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4" Type="http://schemas.openxmlformats.org/officeDocument/2006/relationships/image" Target="../media/image2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.xml"/><Relationship Id="rId4" Type="http://schemas.openxmlformats.org/officeDocument/2006/relationships/image" Target="../media/image27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490271F-9D03-89D6-04C7-BAB3AFCC0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OM MALLEN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0549CB-7FCE-AEEB-C030-52832A4E6D27}"/>
              </a:ext>
            </a:extLst>
          </p:cNvPr>
          <p:cNvSpPr txBox="1"/>
          <p:nvPr/>
        </p:nvSpPr>
        <p:spPr>
          <a:xfrm>
            <a:off x="6798399" y="1321152"/>
            <a:ext cx="42849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För att använda en bakgrundsbild/mall: </a:t>
            </a:r>
          </a:p>
          <a:p>
            <a:endParaRPr lang="sv-SE" dirty="0"/>
          </a:p>
          <a:p>
            <a:r>
              <a:rPr lang="sv-SE" dirty="0"/>
              <a:t>1 högerklicka på en slide i menyn till vänster i bild</a:t>
            </a:r>
          </a:p>
          <a:p>
            <a:r>
              <a:rPr lang="sv-SE" dirty="0"/>
              <a:t>2 välj </a:t>
            </a:r>
            <a:r>
              <a:rPr lang="sv-SE" b="1" dirty="0"/>
              <a:t>layout</a:t>
            </a:r>
            <a:endParaRPr lang="sv-SE" dirty="0"/>
          </a:p>
          <a:p>
            <a:r>
              <a:rPr lang="sv-SE" dirty="0"/>
              <a:t>3 välj slid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07668A-E14D-3B81-1BB0-F90037A971E9}"/>
              </a:ext>
            </a:extLst>
          </p:cNvPr>
          <p:cNvGrpSpPr/>
          <p:nvPr/>
        </p:nvGrpSpPr>
        <p:grpSpPr>
          <a:xfrm>
            <a:off x="6721659" y="3452569"/>
            <a:ext cx="4403778" cy="2810480"/>
            <a:chOff x="846098" y="2753412"/>
            <a:chExt cx="5249902" cy="335047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1270833-15D8-BA80-193E-0442C57F67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87740" y="2753412"/>
              <a:ext cx="5108260" cy="3350474"/>
            </a:xfrm>
            <a:prstGeom prst="rect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F78BFE6-12A3-64D9-6DD0-DD707DFCC304}"/>
                </a:ext>
              </a:extLst>
            </p:cNvPr>
            <p:cNvSpPr/>
            <p:nvPr/>
          </p:nvSpPr>
          <p:spPr>
            <a:xfrm>
              <a:off x="846098" y="3360532"/>
              <a:ext cx="283283" cy="28328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dirty="0"/>
                <a:t>1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242D145-3473-4CAB-A796-661CEC0E46AC}"/>
                </a:ext>
              </a:extLst>
            </p:cNvPr>
            <p:cNvSpPr/>
            <p:nvPr/>
          </p:nvSpPr>
          <p:spPr>
            <a:xfrm>
              <a:off x="2044633" y="5008519"/>
              <a:ext cx="283283" cy="28328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dirty="0"/>
                <a:t>2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3DDD113-B2D4-E370-E424-EC5A7B732A2E}"/>
                </a:ext>
              </a:extLst>
            </p:cNvPr>
            <p:cNvSpPr/>
            <p:nvPr/>
          </p:nvSpPr>
          <p:spPr>
            <a:xfrm>
              <a:off x="4087825" y="3816305"/>
              <a:ext cx="283283" cy="28328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dirty="0"/>
                <a:t>3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3D9801D9-148D-D348-85A5-D1370E8A9D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639" y="3452569"/>
            <a:ext cx="4284964" cy="2406698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46E9815-B49A-CDD4-3422-6FCF9F8923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3463" y="4201499"/>
            <a:ext cx="4171489" cy="2347270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09C17D3-89C6-EE82-23BE-5F718B4AF159}"/>
              </a:ext>
            </a:extLst>
          </p:cNvPr>
          <p:cNvSpPr txBox="1"/>
          <p:nvPr/>
        </p:nvSpPr>
        <p:spPr>
          <a:xfrm>
            <a:off x="857249" y="1321152"/>
            <a:ext cx="57626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Mallen innehåller Försättsslides, kapitelavdelare, Agendaslides m.m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Bilderna är tagna på Öjersjövallen och landmärken i Öjersjö under olika årstid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Slides finns med text, bild, diagram samt tabeller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Årshjul för lagets planering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dirty="0"/>
              <a:t>Taktiktavlor för alla spelformer</a:t>
            </a:r>
          </a:p>
        </p:txBody>
      </p:sp>
    </p:spTree>
    <p:extLst>
      <p:ext uri="{BB962C8B-B14F-4D97-AF65-F5344CB8AC3E}">
        <p14:creationId xmlns:p14="http://schemas.microsoft.com/office/powerpoint/2010/main" val="2294472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5748D73-7DE5-0400-CCA4-CFF909D007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684B38-9AAB-069F-4C98-58B611FAD7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03DC1003-5159-8AF9-7F69-B42E347B9D06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44683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75170-C8C7-BCFD-BE1A-1F9A2F3D2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762898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2B8EEF7-D536-10D3-8F65-08E01AA07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D3E053-0942-3D7E-19FB-5BD8DA19F4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91801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1357DB-8A9D-D333-E052-C7DA7ACBE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2A5916-B5C0-DB74-66AE-A2F7551653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1EBA7F-4032-73F6-FF7B-1EA9D20374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9582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0C41C-82A4-D7A6-4A9D-5971FF97F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3DD586-FF9B-4391-F07C-1E537CF8B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660604-B4AF-3445-3CDF-7F99807DEA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9F1D10-C6FF-0208-46C2-7DA3B0E75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32989B-6520-C15F-997E-AD8662C422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598020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18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20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22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773EB04-20CB-B849-57B2-FA177E94388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6280" y="761599"/>
            <a:ext cx="6743192" cy="53348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1CB7E44-9ED4-F3F2-4EA8-2E9718BC2E37}"/>
              </a:ext>
            </a:extLst>
          </p:cNvPr>
          <p:cNvSpPr txBox="1"/>
          <p:nvPr/>
        </p:nvSpPr>
        <p:spPr>
          <a:xfrm>
            <a:off x="922528" y="2598436"/>
            <a:ext cx="233108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8000" dirty="0">
                <a:solidFill>
                  <a:schemeClr val="bg1"/>
                </a:solidFill>
              </a:rPr>
              <a:t>Tack!</a:t>
            </a:r>
          </a:p>
        </p:txBody>
      </p:sp>
    </p:spTree>
    <p:extLst>
      <p:ext uri="{BB962C8B-B14F-4D97-AF65-F5344CB8AC3E}">
        <p14:creationId xmlns:p14="http://schemas.microsoft.com/office/powerpoint/2010/main" val="2686672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69EDA86-DA63-0572-05FE-1D983A662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52BBAB-9D85-48BD-F536-F08D847DF3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15DFC4D-D021-5EDB-B595-DC51A9C512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87607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C72C2D4-5128-D8CC-97AF-4E495860FF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891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6" progId="TCLayout.ActiveDocument.1">
                  <p:embed/>
                </p:oleObj>
              </mc:Choice>
              <mc:Fallback>
                <p:oleObj name="think-cell Slide" r:id="rId3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72C2D4-5128-D8CC-97AF-4E495860F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0876C3E-AA34-F1D7-DE84-F551776D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Agen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34A2A1-E352-CA96-1E48-469724D76F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dirty="0"/>
              <a:t>Ämne 1</a:t>
            </a:r>
          </a:p>
          <a:p>
            <a:r>
              <a:rPr lang="sv-SE" dirty="0"/>
              <a:t>Ämne 2</a:t>
            </a:r>
          </a:p>
          <a:p>
            <a:r>
              <a:rPr lang="sv-SE" dirty="0"/>
              <a:t>Ämne 3</a:t>
            </a:r>
          </a:p>
          <a:p>
            <a:endParaRPr lang="sv-SE" dirty="0"/>
          </a:p>
          <a:p>
            <a:endParaRPr lang="sv-SE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2343D42-B7FC-B637-5BA0-7D4F8ED0BC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2842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6FD76F-8AE0-22DD-8E0B-9649408D9E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9428430-FAF7-DCBB-098F-134076F254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9945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E73CCAD-52D3-808C-2EB6-29BAA36A0A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1415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6" progId="TCLayout.ActiveDocument.1">
                  <p:embed/>
                </p:oleObj>
              </mc:Choice>
              <mc:Fallback>
                <p:oleObj name="think-cell Slide" r:id="rId3" imgW="426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3CCAD-52D3-808C-2EB6-29BAA36A0A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3F0A0F-3567-E74C-7E27-DD79FBF9D0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2B711B-385E-8159-CB99-899617C3A5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4423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34E7D469-033C-7BF2-6BDB-939D175A6F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16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6" imgH="426" progId="TCLayout.ActiveDocument.1">
                  <p:embed/>
                </p:oleObj>
              </mc:Choice>
              <mc:Fallback>
                <p:oleObj name="think-cell Slide" r:id="rId3" imgW="426" imgH="42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E7D469-033C-7BF2-6BDB-939D175A6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701F99-B74C-A0CD-2886-F37300AB94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2600E8-0CAD-D4C4-B34A-ACF5C34B03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11F7EA-0B3A-D6D0-88D0-EECC415DA7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10B47A-E59C-4621-994B-C647F4817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665250B-8ACB-8E01-0126-72387F8F6DF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A097253-4DAA-3514-D4C6-74335A53735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8818FB1-05F8-D3CC-F551-E60C20F5BF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8D98FF-CD0E-10E5-C2C3-2E9FCDBB16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56BB85-EE75-24C4-4290-580993E3CB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133E5C9-54A3-C8A6-CE61-A1146CBA70E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D890996-6C47-5543-6132-415B702093A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82EB216-2223-E5C6-E853-5507818DAC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A6797DA-159E-2EC3-0613-A42EAA8A017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B02114F-5ED5-C509-D6E9-EA534F2705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7321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25FF513-8977-9967-1240-0B394C41D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BEC085-8F07-76CB-7764-647FCD4162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989D3C-0557-205B-5CF7-475398664A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0880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B9DC0-BFE7-5F0F-2828-0797635F3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D2797-6DFA-EDAA-BD6C-1ADEE0F2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4902B-C4BA-DEAE-326A-A97D79DFD3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262D0F-8631-9852-A8E4-0931AB69CC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E2AB111-0B5B-5A56-1E9E-73EFDD8DDF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4921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2EDA21E-2376-1406-659C-D496AC02A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7D55DB-F1BF-D61E-857F-B7FBE20FF5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4779E013-5D2F-0BE0-67A8-4FC45E382F8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4730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7f5d943-262f-4a33-8a17-4e131f2d89a5" xsi:nil="true"/>
    <lcf76f155ced4ddcb4097134ff3c332f xmlns="86e57c04-25db-4541-8472-01654f38f64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BB140B871DDC49A50EC965D7612DDB" ma:contentTypeVersion="18" ma:contentTypeDescription="Create a new document." ma:contentTypeScope="" ma:versionID="700c674892347e7adb7233d10151cef7">
  <xsd:schema xmlns:xsd="http://www.w3.org/2001/XMLSchema" xmlns:xs="http://www.w3.org/2001/XMLSchema" xmlns:p="http://schemas.microsoft.com/office/2006/metadata/properties" xmlns:ns2="86e57c04-25db-4541-8472-01654f38f644" xmlns:ns3="77f5d943-262f-4a33-8a17-4e131f2d89a5" targetNamespace="http://schemas.microsoft.com/office/2006/metadata/properties" ma:root="true" ma:fieldsID="eb835a470c563caae4407435a1b3ef12" ns2:_="" ns3:_="">
    <xsd:import namespace="86e57c04-25db-4541-8472-01654f38f644"/>
    <xsd:import namespace="77f5d943-262f-4a33-8a17-4e131f2d89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e57c04-25db-4541-8472-01654f38f6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dd04a1c-af64-408d-8a8b-5163c2820f4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f5d943-262f-4a33-8a17-4e131f2d89a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d3b05b6-6b85-40ba-868d-d1ca887f2e87}" ma:internalName="TaxCatchAll" ma:showField="CatchAllData" ma:web="77f5d943-262f-4a33-8a17-4e131f2d89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0E56F7-A337-4DD2-BCFA-CFEBC3B894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423E3A-0041-4645-AEC6-39AF1594DF1A}">
  <ds:schemaRefs>
    <ds:schemaRef ds:uri="86e57c04-25db-4541-8472-01654f38f644"/>
    <ds:schemaRef ds:uri="http://purl.org/dc/elements/1.1/"/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7f5d943-262f-4a33-8a17-4e131f2d89a5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94E4E27-A73B-4833-B1CD-4FA476C909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e57c04-25db-4541-8472-01654f38f644"/>
    <ds:schemaRef ds:uri="77f5d943-262f-4a33-8a17-4e131f2d89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7fea2623-af8f-4fb8-b1cf-b63cc8e496aa}" enabled="1" method="Standard" siteId="{81fa766e-a349-4867-8bf4-ab35e250a08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34</TotalTime>
  <Words>81</Words>
  <Application>Microsoft Office PowerPoint</Application>
  <PresentationFormat>Widescreen</PresentationFormat>
  <Paragraphs>19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ptos</vt:lpstr>
      <vt:lpstr>Aptos Display</vt:lpstr>
      <vt:lpstr>Arial</vt:lpstr>
      <vt:lpstr>Calibri</vt:lpstr>
      <vt:lpstr>Calibri Light</vt:lpstr>
      <vt:lpstr>Courier New</vt:lpstr>
      <vt:lpstr>Georgia</vt:lpstr>
      <vt:lpstr>Wingdings</vt:lpstr>
      <vt:lpstr>1_Office Theme</vt:lpstr>
      <vt:lpstr>Custom Design</vt:lpstr>
      <vt:lpstr>think-cell Slide</vt:lpstr>
      <vt:lpstr>OM MALLEN:</vt:lpstr>
      <vt:lpstr>PowerPoint Presenta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llstedt, Helena</dc:creator>
  <cp:lastModifiedBy>Helena Engblom</cp:lastModifiedBy>
  <cp:revision>5</cp:revision>
  <dcterms:created xsi:type="dcterms:W3CDTF">2023-04-16T19:01:25Z</dcterms:created>
  <dcterms:modified xsi:type="dcterms:W3CDTF">2025-02-26T10:2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BB140B871DDC49A50EC965D7612DDB</vt:lpwstr>
  </property>
  <property fmtid="{D5CDD505-2E9C-101B-9397-08002B2CF9AE}" pid="3" name="MediaServiceImageTags">
    <vt:lpwstr/>
  </property>
</Properties>
</file>